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notesMasterIdLst>
    <p:notesMasterId r:id="rId39"/>
  </p:notesMasterIdLst>
  <p:sldIdLst>
    <p:sldId id="906" r:id="rId2"/>
    <p:sldId id="939" r:id="rId3"/>
    <p:sldId id="912" r:id="rId4"/>
    <p:sldId id="932" r:id="rId5"/>
    <p:sldId id="908" r:id="rId6"/>
    <p:sldId id="940" r:id="rId7"/>
    <p:sldId id="909" r:id="rId8"/>
    <p:sldId id="937" r:id="rId9"/>
    <p:sldId id="910" r:id="rId10"/>
    <p:sldId id="907" r:id="rId11"/>
    <p:sldId id="929" r:id="rId12"/>
    <p:sldId id="930" r:id="rId13"/>
    <p:sldId id="931" r:id="rId14"/>
    <p:sldId id="941" r:id="rId15"/>
    <p:sldId id="926" r:id="rId16"/>
    <p:sldId id="938" r:id="rId17"/>
    <p:sldId id="928" r:id="rId18"/>
    <p:sldId id="911" r:id="rId19"/>
    <p:sldId id="915" r:id="rId20"/>
    <p:sldId id="922" r:id="rId21"/>
    <p:sldId id="925" r:id="rId22"/>
    <p:sldId id="933" r:id="rId23"/>
    <p:sldId id="917" r:id="rId24"/>
    <p:sldId id="919" r:id="rId25"/>
    <p:sldId id="921" r:id="rId26"/>
    <p:sldId id="936" r:id="rId27"/>
    <p:sldId id="942" r:id="rId28"/>
    <p:sldId id="935" r:id="rId29"/>
    <p:sldId id="943" r:id="rId30"/>
    <p:sldId id="945" r:id="rId31"/>
    <p:sldId id="944" r:id="rId32"/>
    <p:sldId id="934" r:id="rId33"/>
    <p:sldId id="946" r:id="rId34"/>
    <p:sldId id="947" r:id="rId35"/>
    <p:sldId id="948" r:id="rId36"/>
    <p:sldId id="949" r:id="rId37"/>
    <p:sldId id="914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66"/>
    <a:srgbClr val="FF4F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3817" autoAdjust="0"/>
  </p:normalViewPr>
  <p:slideViewPr>
    <p:cSldViewPr snapToGrid="0">
      <p:cViewPr varScale="1">
        <p:scale>
          <a:sx n="106" d="100"/>
          <a:sy n="106" d="100"/>
        </p:scale>
        <p:origin x="240" y="144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35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73BDAF-BF92-4BBA-879E-C3101F366AEB}" type="datetimeFigureOut">
              <a:rPr lang="en-US" smtClean="0"/>
              <a:t>3/2/20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7CC4ED-9B39-4AF8-958C-58D5D0CD0C7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785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Mr42DQHy3TI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Mr42DQHy3TI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Mr42DQHy3TI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Mr42DQHy3TI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i="1" dirty="0"/>
              <a:t>Programmier- und weitere </a:t>
            </a:r>
            <a:r>
              <a:rPr lang="de-DE" b="0" i="1" dirty="0" err="1"/>
              <a:t>Erläuterungs</a:t>
            </a:r>
            <a:r>
              <a:rPr lang="de-DE" b="0" i="1" dirty="0"/>
              <a:t>/Theorieteile werden je nach Klassenstufe flexibel eingebaut in die einzelnen Schritte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Kurze Einführung in Künstliche Intelligenz und Maschinelles Lern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>
                <a:sym typeface="Wingdings" panose="05000000000000000000" pitchFamily="2" charset="2"/>
              </a:rPr>
              <a:t> E</a:t>
            </a:r>
            <a:r>
              <a:rPr lang="de-DE" dirty="0"/>
              <a:t>ingangsfolien kindgerecht aufbereiten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SuS</a:t>
            </a:r>
            <a:r>
              <a:rPr lang="de-DE" dirty="0">
                <a:sym typeface="Wingdings" panose="05000000000000000000" pitchFamily="2" charset="2"/>
              </a:rPr>
              <a:t>-geeigneter Foliensatz zu diesem Lehrerfoliensatz</a:t>
            </a: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Durchlaufen eines Lern- und </a:t>
            </a:r>
            <a:r>
              <a:rPr lang="de-DE" dirty="0" err="1"/>
              <a:t>Inbetriebnahmezyklus</a:t>
            </a:r>
            <a:r>
              <a:rPr lang="de-DE" dirty="0"/>
              <a:t> für Maschinelles Lern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Datensammelphase</a:t>
            </a:r>
            <a:r>
              <a:rPr lang="de-DE" dirty="0"/>
              <a:t> – Gamification!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Kinder teilen sich in mehrere Gruppen auf, ggf. auch jedes Kind mit eigenem </a:t>
            </a:r>
            <a:r>
              <a:rPr lang="de-DE" dirty="0" err="1"/>
              <a:t>Calliope</a:t>
            </a:r>
            <a:endParaRPr lang="de-DE" dirty="0"/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Spielen 10 Minuten lang Autorennen, generieren dabei Trainingsdaten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Trainingsdaten werden ggf. an einen Desktop übertragen (Pipeline-spezifisch) und zusammengeführt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Trainingsphas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Für jedes Set Trainingsdaten (einzeln, Gruppen- oder Klassen-Pool) wird ein ML-Modell trainiert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Testphas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ML-Modell wird mehrmals laufen gelassen, bis die KI einen Unfall baut. Statistischer Gesamt-Scor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Trainingserfolg wird am Ende dargestellt; „Siegerehrung“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Lernziele resümier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/>
              <a:t>Datenmenge und -qualität sind entscheidend für den Lernerfolg einer künstlichen Intelligenz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/>
              <a:t>Option: Visualisieren des Anlernvorgangs eines künstlichen neuronalen Netzwerks, ggf. nur als Video:</a:t>
            </a:r>
            <a:br>
              <a:rPr lang="de-DE" dirty="0"/>
            </a:br>
            <a:r>
              <a:rPr lang="de-DE" dirty="0">
                <a:hlinkClick r:id="rId3"/>
              </a:rPr>
              <a:t>https://www.youtube.com/watch?v=Mr42DQHy3TI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6446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7186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2826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9478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aschinellen Lernens mit dem Zauberwürfel (</a:t>
            </a:r>
            <a:r>
              <a:rPr lang="de-DE" dirty="0" err="1"/>
              <a:t>Rubik's</a:t>
            </a:r>
            <a:r>
              <a:rPr lang="de-DE" dirty="0"/>
              <a:t> Cube)</a:t>
            </a:r>
            <a:endParaRPr lang="en-US" dirty="0"/>
          </a:p>
          <a:p>
            <a:r>
              <a:rPr lang="en-US" dirty="0"/>
              <a:t>https://www.heise.de/tr/artikel/Maschine-knackt-den-Zauberwuerfel-4095333.html</a:t>
            </a:r>
          </a:p>
          <a:p>
            <a:endParaRPr lang="en-US" dirty="0"/>
          </a:p>
          <a:p>
            <a:r>
              <a:rPr lang="en-US" dirty="0"/>
              <a:t>LEGO Mindstorms NXT 2.0 set</a:t>
            </a:r>
          </a:p>
          <a:p>
            <a:r>
              <a:rPr lang="en-US" dirty="0"/>
              <a:t>http://tiltedtwister.com/tiltedtwister2.htm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58895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5199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Nur </a:t>
            </a:r>
            <a:r>
              <a:rPr lang="de-DE" dirty="0" err="1"/>
              <a:t>Gutfälle</a:t>
            </a:r>
            <a:r>
              <a:rPr lang="de-DE" dirty="0"/>
              <a:t> werden trainiert …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908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2309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7700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i="1" dirty="0"/>
              <a:t>Programmier- und weitere </a:t>
            </a:r>
            <a:r>
              <a:rPr lang="de-DE" b="0" i="1" dirty="0" err="1"/>
              <a:t>Erläuterungs</a:t>
            </a:r>
            <a:r>
              <a:rPr lang="de-DE" b="0" i="1" dirty="0"/>
              <a:t>/Theorieteile werden je nach Klassenstufe flexibel eingebaut in die einzelnen Schritte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Kurze Einführung in Künstliche Intelligenz und Maschinelles Lern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>
                <a:sym typeface="Wingdings" panose="05000000000000000000" pitchFamily="2" charset="2"/>
              </a:rPr>
              <a:t> E</a:t>
            </a:r>
            <a:r>
              <a:rPr lang="de-DE" dirty="0"/>
              <a:t>ingangsfolien kindgerecht aufbereiten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SuS</a:t>
            </a:r>
            <a:r>
              <a:rPr lang="de-DE" dirty="0">
                <a:sym typeface="Wingdings" panose="05000000000000000000" pitchFamily="2" charset="2"/>
              </a:rPr>
              <a:t>-geeigneter Foliensatz zu diesem Lehrerfoliensatz</a:t>
            </a: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Durchlaufen eines Lern- und </a:t>
            </a:r>
            <a:r>
              <a:rPr lang="de-DE" dirty="0" err="1"/>
              <a:t>Inbetriebnahmezyklus</a:t>
            </a:r>
            <a:r>
              <a:rPr lang="de-DE" dirty="0"/>
              <a:t> für Maschinelles Lern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Datensammelphase</a:t>
            </a:r>
            <a:r>
              <a:rPr lang="de-DE" dirty="0"/>
              <a:t> – Gamification!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Kinder teilen sich in mehrere Gruppen auf, ggf. auch jedes Kind mit eigenem </a:t>
            </a:r>
            <a:r>
              <a:rPr lang="de-DE" dirty="0" err="1"/>
              <a:t>Calliope</a:t>
            </a:r>
            <a:endParaRPr lang="de-DE" dirty="0"/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Spielen 10 Minuten lang Autorennen, generieren dabei Trainingsdaten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Trainingsdaten werden ggf. an einen Desktop übertragen (Pipeline-spezifisch) und zusammengeführt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Trainingsphas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Für jedes Set Trainingsdaten (einzeln, Gruppen- oder Klassen-Pool) wird ein ML-Modell trainiert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Testphas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ML-Modell wird mehrmals laufen gelassen, bis die KI einen Unfall baut. Statistischer Gesamt-Scor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Trainingserfolg wird am Ende dargestellt; „Siegerehrung“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Lernziele resümier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/>
              <a:t>Datenmenge und -qualität sind entscheidend für den Lernerfolg einer künstlichen Intelligenz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/>
              <a:t>Option: Visualisieren des Anlernvorgangs eines künstlichen neuronalen Netzwerks, ggf. nur als Video:</a:t>
            </a:r>
            <a:br>
              <a:rPr lang="de-DE" dirty="0"/>
            </a:br>
            <a:r>
              <a:rPr lang="de-DE" dirty="0">
                <a:hlinkClick r:id="rId3"/>
              </a:rPr>
              <a:t>https://www.youtube.com/watch?v=Mr42DQHy3TI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255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Offene Fragestellung: Was ist für Euch Intelligenz?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2867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Offene Fragestellung?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4909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i="1" dirty="0"/>
              <a:t>Programmier- und weitere </a:t>
            </a:r>
            <a:r>
              <a:rPr lang="de-DE" b="0" i="1" dirty="0" err="1"/>
              <a:t>Erläuterungs</a:t>
            </a:r>
            <a:r>
              <a:rPr lang="de-DE" b="0" i="1" dirty="0"/>
              <a:t>/Theorieteile werden je nach Klassenstufe flexibel eingebaut in die einzelnen Schritte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Kurze Einführung in Künstliche Intelligenz und Maschinelles Lern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>
                <a:sym typeface="Wingdings" panose="05000000000000000000" pitchFamily="2" charset="2"/>
              </a:rPr>
              <a:t> E</a:t>
            </a:r>
            <a:r>
              <a:rPr lang="de-DE" dirty="0"/>
              <a:t>ingangsfolien kindgerecht aufbereiten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SuS</a:t>
            </a:r>
            <a:r>
              <a:rPr lang="de-DE" dirty="0">
                <a:sym typeface="Wingdings" panose="05000000000000000000" pitchFamily="2" charset="2"/>
              </a:rPr>
              <a:t>-geeigneter Foliensatz zu diesem Lehrerfoliensatz</a:t>
            </a: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Durchlaufen eines Lern- und </a:t>
            </a:r>
            <a:r>
              <a:rPr lang="de-DE" dirty="0" err="1"/>
              <a:t>Inbetriebnahmezyklus</a:t>
            </a:r>
            <a:r>
              <a:rPr lang="de-DE" dirty="0"/>
              <a:t> für Maschinelles Lern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Datensammelphase</a:t>
            </a:r>
            <a:r>
              <a:rPr lang="de-DE" dirty="0"/>
              <a:t> – Gamification!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Kinder teilen sich in mehrere Gruppen auf, ggf. auch jedes Kind mit eigenem </a:t>
            </a:r>
            <a:r>
              <a:rPr lang="de-DE" dirty="0" err="1"/>
              <a:t>Calliope</a:t>
            </a:r>
            <a:endParaRPr lang="de-DE" dirty="0"/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Spielen 10 Minuten lang Autorennen, generieren dabei Trainingsdaten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Trainingsdaten werden ggf. an einen Desktop übertragen (Pipeline-spezifisch) und zusammengeführt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Trainingsphas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Für jedes Set Trainingsdaten (einzeln, Gruppen- oder Klassen-Pool) wird ein ML-Modell trainiert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Testphas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ML-Modell wird mehrmals laufen gelassen, bis die KI einen Unfall baut. Statistischer Gesamt-Scor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Trainingserfolg wird am Ende dargestellt; „Siegerehrung“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Lernziele resümier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/>
              <a:t>Datenmenge und -qualität sind entscheidend für den Lernerfolg einer künstlichen Intelligenz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/>
              <a:t>Option: Visualisieren des Anlernvorgangs eines künstlichen neuronalen Netzwerks, ggf. nur als Video:</a:t>
            </a:r>
            <a:br>
              <a:rPr lang="de-DE" dirty="0"/>
            </a:br>
            <a:r>
              <a:rPr lang="de-DE" dirty="0">
                <a:hlinkClick r:id="rId3"/>
              </a:rPr>
              <a:t>https://www.youtube.com/watch?v=Mr42DQHy3TI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2447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7711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84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5912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i="1" dirty="0"/>
              <a:t>Programmier- und weitere </a:t>
            </a:r>
            <a:r>
              <a:rPr lang="de-DE" b="0" i="1" dirty="0" err="1"/>
              <a:t>Erläuterungs</a:t>
            </a:r>
            <a:r>
              <a:rPr lang="de-DE" b="0" i="1" dirty="0"/>
              <a:t>/Theorieteile werden je nach Klassenstufe flexibel eingebaut in die einzelnen Schritte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Kurze Einführung in Künstliche Intelligenz und Maschinelles Lern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>
                <a:sym typeface="Wingdings" panose="05000000000000000000" pitchFamily="2" charset="2"/>
              </a:rPr>
              <a:t> E</a:t>
            </a:r>
            <a:r>
              <a:rPr lang="de-DE" dirty="0"/>
              <a:t>ingangsfolien kindgerecht aufbereiten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SuS</a:t>
            </a:r>
            <a:r>
              <a:rPr lang="de-DE" dirty="0">
                <a:sym typeface="Wingdings" panose="05000000000000000000" pitchFamily="2" charset="2"/>
              </a:rPr>
              <a:t>-geeigneter Foliensatz zu diesem Lehrerfoliensatz</a:t>
            </a: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Durchlaufen eines Lern- und </a:t>
            </a:r>
            <a:r>
              <a:rPr lang="de-DE" dirty="0" err="1"/>
              <a:t>Inbetriebnahmezyklus</a:t>
            </a:r>
            <a:r>
              <a:rPr lang="de-DE" dirty="0"/>
              <a:t> für Maschinelles Lern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Datensammelphase</a:t>
            </a:r>
            <a:r>
              <a:rPr lang="de-DE" dirty="0"/>
              <a:t> – Gamification!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Kinder teilen sich in mehrere Gruppen auf, ggf. auch jedes Kind mit eigenem </a:t>
            </a:r>
            <a:r>
              <a:rPr lang="de-DE" dirty="0" err="1"/>
              <a:t>Calliope</a:t>
            </a:r>
            <a:endParaRPr lang="de-DE" dirty="0"/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Spielen 10 Minuten lang Autorennen, generieren dabei Trainingsdaten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Trainingsdaten werden ggf. an einen Desktop übertragen (Pipeline-spezifisch) und zusammengeführt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Trainingsphas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Für jedes Set Trainingsdaten (einzeln, Gruppen- oder Klassen-Pool) wird ein ML-Modell trainiert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Testphas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ML-Modell wird mehrmals laufen gelassen, bis die KI einen Unfall baut. Statistischer Gesamt-Scor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Trainingserfolg wird am Ende dargestellt; „Siegerehrung“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Lernziele resümier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/>
              <a:t>Datenmenge und -qualität sind entscheidend für den Lernerfolg einer künstlichen Intelligenz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/>
              <a:t>Option: Visualisieren des Anlernvorgangs eines künstlichen neuronalen Netzwerks, ggf. nur als Video:</a:t>
            </a:r>
            <a:br>
              <a:rPr lang="de-DE" dirty="0"/>
            </a:br>
            <a:r>
              <a:rPr lang="de-DE" dirty="0">
                <a:hlinkClick r:id="rId3"/>
              </a:rPr>
              <a:t>https://www.youtube.com/watch?v=Mr42DQHy3TI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0003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4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 bwMode="ltGray"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2681" y="3685245"/>
            <a:ext cx="11506640" cy="1054742"/>
          </a:xfrm>
          <a:noFill/>
        </p:spPr>
        <p:txBody>
          <a:bodyPr wrap="square" lIns="0" tIns="144000">
            <a:noAutofit/>
          </a:bodyPr>
          <a:lstStyle>
            <a:lvl1pPr>
              <a:defRPr sz="6349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 (60) 75 90 P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343975" y="1077668"/>
            <a:ext cx="9058487" cy="115376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sym typeface="Wingdings" panose="05000000000000000000" pitchFamily="2" charset="2"/>
              </a:defRPr>
            </a:lvl1pPr>
          </a:lstStyle>
          <a:p>
            <a:pPr lvl="0"/>
            <a:r>
              <a:rPr lang="de-DE" dirty="0"/>
              <a:t>Add a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: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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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photo</a:t>
            </a:r>
            <a:r>
              <a:rPr lang="de-DE" dirty="0"/>
              <a:t> 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file</a:t>
            </a:r>
            <a:endParaRPr lang="de-DE" dirty="0"/>
          </a:p>
        </p:txBody>
      </p:sp>
      <p:pic>
        <p:nvPicPr>
          <p:cNvPr id="32" name="Grafik 30" descr="T_Logo_3c_Slogan_p_INT.emf">
            <a:extLst>
              <a:ext uri="{FF2B5EF4-FFF2-40B4-BE49-F238E27FC236}">
                <a16:creationId xmlns:a16="http://schemas.microsoft.com/office/drawing/2014/main" id="{0D956BEC-F748-4D8A-8236-893FA17DAE7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38" y="6239314"/>
            <a:ext cx="2551550" cy="380990"/>
          </a:xfrm>
          <a:prstGeom prst="rect">
            <a:avLst/>
          </a:prstGeom>
        </p:spPr>
      </p:pic>
      <p:sp>
        <p:nvSpPr>
          <p:cNvPr id="33" name="Textfeld 32">
            <a:extLst>
              <a:ext uri="{FF2B5EF4-FFF2-40B4-BE49-F238E27FC236}">
                <a16:creationId xmlns:a16="http://schemas.microsoft.com/office/drawing/2014/main" id="{79FC25FC-5E8E-441E-9871-D1F0013042F0}"/>
              </a:ext>
            </a:extLst>
          </p:cNvPr>
          <p:cNvSpPr txBox="1"/>
          <p:nvPr userDrawn="1"/>
        </p:nvSpPr>
        <p:spPr bwMode="gray">
          <a:xfrm>
            <a:off x="9544009" y="6277335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</p:spTree>
    <p:extLst>
      <p:ext uri="{BB962C8B-B14F-4D97-AF65-F5344CB8AC3E}">
        <p14:creationId xmlns:p14="http://schemas.microsoft.com/office/powerpoint/2010/main" val="407041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/Divider Pictur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686297" y="3669172"/>
            <a:ext cx="9917717" cy="1407117"/>
          </a:xfrm>
        </p:spPr>
        <p:txBody>
          <a:bodyPr/>
          <a:lstStyle>
            <a:lvl1pPr marL="0" marR="0" indent="0" algn="l" defTabSz="48389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539" baseline="0">
                <a:solidFill>
                  <a:schemeClr val="bg1"/>
                </a:solidFill>
                <a:sym typeface="Wingdings" panose="05000000000000000000" pitchFamily="2" charset="2"/>
              </a:defRPr>
            </a:lvl1pPr>
          </a:lstStyle>
          <a:p>
            <a:r>
              <a:rPr lang="en-US" dirty="0"/>
              <a:t>Add a Photo as background to complement your key message</a:t>
            </a:r>
            <a:br>
              <a:rPr lang="en-US" dirty="0"/>
            </a:br>
            <a:r>
              <a:rPr lang="en-US" dirty="0"/>
              <a:t>You can find pictures on: www.pexels.com or www.pixabay.com</a:t>
            </a:r>
            <a:br>
              <a:rPr lang="en-US" dirty="0"/>
            </a:br>
            <a:r>
              <a:rPr lang="en-US" dirty="0"/>
              <a:t>To insert your picture:</a:t>
            </a:r>
            <a:br>
              <a:rPr lang="en-US" dirty="0"/>
            </a:br>
            <a:r>
              <a:rPr lang="en-US" dirty="0"/>
              <a:t>Right click  format background  Insert Photo  Choose File</a:t>
            </a:r>
          </a:p>
        </p:txBody>
      </p:sp>
      <p:pic>
        <p:nvPicPr>
          <p:cNvPr id="10" name="Grafik 30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38" y="6255851"/>
            <a:ext cx="2551550" cy="380990"/>
          </a:xfrm>
          <a:prstGeom prst="rect">
            <a:avLst/>
          </a:prstGeom>
        </p:spPr>
      </p:pic>
      <p:sp>
        <p:nvSpPr>
          <p:cNvPr id="8" name="Textfeld 7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bg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</p:spTree>
    <p:extLst>
      <p:ext uri="{BB962C8B-B14F-4D97-AF65-F5344CB8AC3E}">
        <p14:creationId xmlns:p14="http://schemas.microsoft.com/office/powerpoint/2010/main" val="3201435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blipFill dpi="0"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46674" y="4292544"/>
            <a:ext cx="11274193" cy="325722"/>
          </a:xfrm>
        </p:spPr>
        <p:txBody>
          <a:bodyPr/>
          <a:lstStyle>
            <a:lvl1pPr marL="0" indent="0" algn="ctr">
              <a:buClr>
                <a:schemeClr val="tx2"/>
              </a:buClr>
              <a:buNone/>
              <a:defRPr sz="1270" baseline="0">
                <a:solidFill>
                  <a:schemeClr val="tx1"/>
                </a:solidFill>
              </a:defRPr>
            </a:lvl1pPr>
            <a:lvl2pPr>
              <a:buClr>
                <a:schemeClr val="tx2"/>
              </a:buClr>
              <a:defRPr sz="1905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1905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1905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1905">
                <a:solidFill>
                  <a:schemeClr val="tx2"/>
                </a:solidFill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de-DE" dirty="0"/>
              <a:t>Nam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peaker</a:t>
            </a:r>
            <a:r>
              <a:rPr lang="de-DE" dirty="0"/>
              <a:t> &amp; </a:t>
            </a:r>
            <a:r>
              <a:rPr lang="de-DE" dirty="0" err="1"/>
              <a:t>contact</a:t>
            </a:r>
            <a:r>
              <a:rPr lang="de-DE" dirty="0"/>
              <a:t> </a:t>
            </a:r>
            <a:r>
              <a:rPr lang="de-DE" dirty="0" err="1"/>
              <a:t>details</a:t>
            </a:r>
            <a:endParaRPr lang="en-US" dirty="0"/>
          </a:p>
        </p:txBody>
      </p:sp>
      <p:sp>
        <p:nvSpPr>
          <p:cNvPr id="9" name="Titel 22"/>
          <p:cNvSpPr txBox="1">
            <a:spLocks/>
          </p:cNvSpPr>
          <p:nvPr userDrawn="1"/>
        </p:nvSpPr>
        <p:spPr bwMode="gray">
          <a:xfrm>
            <a:off x="571132" y="3033249"/>
            <a:ext cx="11047010" cy="791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1226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71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Welcome</a:t>
            </a:r>
            <a:r>
              <a:rPr kumimoji="0" lang="de-DE" sz="5714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</a:t>
            </a:r>
            <a:r>
              <a:rPr kumimoji="0" lang="de-DE" sz="5714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to</a:t>
            </a:r>
            <a:r>
              <a:rPr kumimoji="0" lang="de-DE" sz="5714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</a:t>
            </a:r>
            <a:r>
              <a:rPr kumimoji="0" lang="de-DE" sz="5714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the</a:t>
            </a:r>
            <a:r>
              <a:rPr kumimoji="0" lang="de-DE" sz="5714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digital</a:t>
            </a:r>
            <a:r>
              <a:rPr kumimoji="0" lang="de-DE" sz="5714" b="0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AGE !</a:t>
            </a:r>
            <a:endParaRPr kumimoji="0" lang="de-DE" sz="5714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  <p:sp>
        <p:nvSpPr>
          <p:cNvPr id="10" name="TextBox 61"/>
          <p:cNvSpPr txBox="1"/>
          <p:nvPr userDrawn="1"/>
        </p:nvSpPr>
        <p:spPr>
          <a:xfrm>
            <a:off x="571133" y="4000547"/>
            <a:ext cx="11049735" cy="288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539"/>
              </a:lnSpc>
            </a:pPr>
            <a:r>
              <a:rPr lang="en-US" sz="1693" dirty="0">
                <a:solidFill>
                  <a:schemeClr val="tx2"/>
                </a:solidFill>
                <a:latin typeface="+mj-lt"/>
              </a:rPr>
              <a:t>Thank you.</a:t>
            </a:r>
            <a:endParaRPr lang="en-US" sz="1693" dirty="0">
              <a:solidFill>
                <a:schemeClr val="tx2"/>
              </a:solidFill>
              <a:latin typeface="TeleGrotesk Headline" pitchFamily="2" charset="0"/>
            </a:endParaRPr>
          </a:p>
        </p:txBody>
      </p:sp>
      <p:sp>
        <p:nvSpPr>
          <p:cNvPr id="14" name="Textfeld 13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8540958" cy="52115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defRPr lang="en-US" sz="3386" kern="1200" noProof="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</a:lstStyle>
          <a:p>
            <a:pPr marL="0" lv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dirty="0"/>
              <a:t>Headline.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5" name="Datumsplatzhalter 4"/>
          <p:cNvSpPr>
            <a:spLocks noGrp="1"/>
          </p:cNvSpPr>
          <p:nvPr>
            <p:ph type="dt" sz="half" idx="14"/>
          </p:nvPr>
        </p:nvSpPr>
        <p:spPr>
          <a:xfrm>
            <a:off x="6561245" y="6175928"/>
            <a:ext cx="876142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en-US" noProof="0" dirty="0"/>
          </a:p>
        </p:txBody>
      </p:sp>
      <p:sp>
        <p:nvSpPr>
          <p:cNvPr id="1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5793305" y="6175928"/>
            <a:ext cx="380931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8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2913213" y="6172034"/>
            <a:ext cx="2493083" cy="342891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8009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bg>
      <p:bgPr>
        <a:blipFill dpi="0"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22"/>
          <p:cNvSpPr txBox="1">
            <a:spLocks/>
          </p:cNvSpPr>
          <p:nvPr userDrawn="1"/>
        </p:nvSpPr>
        <p:spPr bwMode="gray">
          <a:xfrm>
            <a:off x="571132" y="3033249"/>
            <a:ext cx="11047010" cy="791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1226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71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Welcome</a:t>
            </a:r>
            <a:r>
              <a:rPr kumimoji="0" lang="de-DE" sz="5714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</a:t>
            </a:r>
            <a:r>
              <a:rPr kumimoji="0" lang="de-DE" sz="5714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to</a:t>
            </a:r>
            <a:r>
              <a:rPr kumimoji="0" lang="de-DE" sz="5714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</a:t>
            </a:r>
            <a:r>
              <a:rPr kumimoji="0" lang="de-DE" sz="5714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the</a:t>
            </a:r>
            <a:r>
              <a:rPr kumimoji="0" lang="de-DE" sz="5714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digital</a:t>
            </a:r>
            <a:r>
              <a:rPr kumimoji="0" lang="de-DE" sz="5714" b="0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AGE !</a:t>
            </a:r>
            <a:endParaRPr kumimoji="0" lang="de-DE" sz="5714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8540958" cy="521155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Headline.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Datumsplatzhalter 4"/>
          <p:cNvSpPr>
            <a:spLocks noGrp="1"/>
          </p:cNvSpPr>
          <p:nvPr>
            <p:ph type="dt" sz="half" idx="14"/>
          </p:nvPr>
        </p:nvSpPr>
        <p:spPr>
          <a:xfrm>
            <a:off x="6561245" y="6175928"/>
            <a:ext cx="876142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en-US" noProof="0" dirty="0"/>
          </a:p>
        </p:txBody>
      </p:sp>
      <p:sp>
        <p:nvSpPr>
          <p:cNvPr id="15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5793305" y="6175928"/>
            <a:ext cx="380931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6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2913213" y="6172034"/>
            <a:ext cx="2493083" cy="342891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325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2" name="Objek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8540958" cy="521155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Headline.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14"/>
          </p:nvPr>
        </p:nvSpPr>
        <p:spPr>
          <a:xfrm>
            <a:off x="6561245" y="6175928"/>
            <a:ext cx="876142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en-US" noProof="0" dirty="0"/>
          </a:p>
        </p:txBody>
      </p:sp>
      <p:sp>
        <p:nvSpPr>
          <p:cNvPr id="11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5793305" y="6175928"/>
            <a:ext cx="380931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4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2913213" y="6172034"/>
            <a:ext cx="2493083" cy="342891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42010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/>
          <p:cNvSpPr txBox="1"/>
          <p:nvPr userDrawn="1"/>
        </p:nvSpPr>
        <p:spPr bwMode="gray">
          <a:xfrm>
            <a:off x="9544009" y="6194727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</a:t>
            </a:r>
            <a:r>
              <a:rPr lang="de-DE" sz="1481" b="1" dirty="0">
                <a:solidFill>
                  <a:schemeClr val="bg1"/>
                </a:solidFill>
                <a:latin typeface="+mj-lt"/>
                <a:cs typeface="Helvetica" panose="020B0604020202020204" pitchFamily="34" charset="0"/>
              </a:rPr>
              <a:t>Digital &amp; Innovation</a:t>
            </a:r>
          </a:p>
        </p:txBody>
      </p:sp>
      <p:pic>
        <p:nvPicPr>
          <p:cNvPr id="12" name="Grafik 31" descr="T_Logo_3c_Slogan_p_INT.emf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924"/>
          <a:stretch>
            <a:fillRect/>
          </a:stretch>
        </p:blipFill>
        <p:spPr bwMode="black">
          <a:xfrm>
            <a:off x="342838" y="5985348"/>
            <a:ext cx="1385879" cy="529576"/>
          </a:xfrm>
          <a:prstGeom prst="rect">
            <a:avLst/>
          </a:prstGeom>
        </p:spPr>
      </p:pic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8540958" cy="521155"/>
          </a:xfrm>
        </p:spPr>
        <p:txBody>
          <a:bodyPr/>
          <a:lstStyle>
            <a:lvl1pPr marL="0" indent="0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Headline. </a:t>
            </a:r>
            <a:r>
              <a:rPr lang="en-US" dirty="0" err="1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9093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12192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feld 9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11" name="Datumsplatzhalter 4"/>
          <p:cNvSpPr>
            <a:spLocks noGrp="1"/>
          </p:cNvSpPr>
          <p:nvPr>
            <p:ph type="dt" sz="half" idx="14"/>
          </p:nvPr>
        </p:nvSpPr>
        <p:spPr>
          <a:xfrm>
            <a:off x="6561245" y="6175928"/>
            <a:ext cx="876142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en-US" noProof="0" dirty="0"/>
          </a:p>
        </p:txBody>
      </p:sp>
      <p:sp>
        <p:nvSpPr>
          <p:cNvPr id="12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5793305" y="6175928"/>
            <a:ext cx="380931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3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2913213" y="6172034"/>
            <a:ext cx="2493083" cy="342891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4072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8540958" cy="521155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Headline.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42838" y="1562058"/>
            <a:ext cx="11504128" cy="457240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feld 9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11" name="Datumsplatzhalter 4"/>
          <p:cNvSpPr>
            <a:spLocks noGrp="1"/>
          </p:cNvSpPr>
          <p:nvPr>
            <p:ph type="dt" sz="half" idx="14"/>
          </p:nvPr>
        </p:nvSpPr>
        <p:spPr>
          <a:xfrm>
            <a:off x="6561245" y="6175928"/>
            <a:ext cx="876142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en-US" noProof="0" dirty="0"/>
          </a:p>
        </p:txBody>
      </p:sp>
      <p:sp>
        <p:nvSpPr>
          <p:cNvPr id="13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5793305" y="6175928"/>
            <a:ext cx="380931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4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2913213" y="6172034"/>
            <a:ext cx="2493083" cy="342891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5648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6171591" y="1"/>
            <a:ext cx="6020409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42838" y="1562454"/>
            <a:ext cx="5455837" cy="4267350"/>
          </a:xfrm>
        </p:spPr>
        <p:txBody>
          <a:bodyPr anchor="t"/>
          <a:lstStyle>
            <a:lvl1pPr>
              <a:defRPr sz="1905" baseline="0"/>
            </a:lvl1pPr>
            <a:lvl2pPr>
              <a:defRPr sz="1905"/>
            </a:lvl2pPr>
            <a:lvl3pPr>
              <a:buClr>
                <a:schemeClr val="tx1"/>
              </a:buClr>
              <a:defRPr sz="1905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8540958" cy="521155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Headline.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14"/>
          </p:nvPr>
        </p:nvSpPr>
        <p:spPr>
          <a:xfrm>
            <a:off x="6561245" y="6175928"/>
            <a:ext cx="876142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en-US" noProof="0" dirty="0"/>
          </a:p>
        </p:txBody>
      </p:sp>
      <p:sp>
        <p:nvSpPr>
          <p:cNvPr id="12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5793305" y="6175928"/>
            <a:ext cx="380931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3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2913213" y="6172034"/>
            <a:ext cx="2493083" cy="342891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3859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6171750" y="1562454"/>
            <a:ext cx="5677571" cy="4267350"/>
          </a:xfrm>
        </p:spPr>
        <p:txBody>
          <a:bodyPr anchor="ctr"/>
          <a:lstStyle>
            <a:lvl1pPr>
              <a:defRPr sz="1905"/>
            </a:lvl1pPr>
            <a:lvl2pPr>
              <a:defRPr sz="1905"/>
            </a:lvl2pPr>
            <a:lvl3pPr>
              <a:buClr>
                <a:schemeClr val="tx1"/>
              </a:buClr>
              <a:defRPr sz="1905" baseline="0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6020409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2" name="Textfeld 11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171751" y="488637"/>
            <a:ext cx="4591629" cy="521155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Headline.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Datumsplatzhalter 4"/>
          <p:cNvSpPr>
            <a:spLocks noGrp="1"/>
          </p:cNvSpPr>
          <p:nvPr>
            <p:ph type="dt" sz="half" idx="14"/>
          </p:nvPr>
        </p:nvSpPr>
        <p:spPr>
          <a:xfrm>
            <a:off x="6561245" y="6175928"/>
            <a:ext cx="876142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en-US" noProof="0" dirty="0"/>
          </a:p>
        </p:txBody>
      </p:sp>
      <p:sp>
        <p:nvSpPr>
          <p:cNvPr id="15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5793305" y="6175928"/>
            <a:ext cx="380931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6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2913213" y="6172034"/>
            <a:ext cx="2493083" cy="342891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49787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42839" y="1562058"/>
            <a:ext cx="5360260" cy="4572409"/>
          </a:xfrm>
        </p:spPr>
        <p:txBody>
          <a:bodyPr/>
          <a:lstStyle>
            <a:lvl1pPr>
              <a:defRPr sz="1905"/>
            </a:lvl1pPr>
            <a:lvl2pPr>
              <a:defRPr sz="1905"/>
            </a:lvl2pPr>
            <a:lvl3pPr>
              <a:buClr>
                <a:schemeClr val="tx1"/>
              </a:buClr>
              <a:defRPr sz="1905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15" name="Inhaltsplatzhalter 2"/>
          <p:cNvSpPr>
            <a:spLocks noGrp="1"/>
          </p:cNvSpPr>
          <p:nvPr>
            <p:ph sz="half" idx="17" hasCustomPrompt="1"/>
          </p:nvPr>
        </p:nvSpPr>
        <p:spPr>
          <a:xfrm>
            <a:off x="6260608" y="1562058"/>
            <a:ext cx="5360260" cy="4572409"/>
          </a:xfrm>
        </p:spPr>
        <p:txBody>
          <a:bodyPr/>
          <a:lstStyle>
            <a:lvl1pPr>
              <a:defRPr sz="1905"/>
            </a:lvl1pPr>
            <a:lvl2pPr>
              <a:defRPr sz="1905"/>
            </a:lvl2pPr>
            <a:lvl3pPr>
              <a:buClr>
                <a:schemeClr val="tx1"/>
              </a:buClr>
              <a:defRPr sz="1905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8540958" cy="521155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Headline.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Datumsplatzhalter 4"/>
          <p:cNvSpPr>
            <a:spLocks noGrp="1"/>
          </p:cNvSpPr>
          <p:nvPr>
            <p:ph type="dt" sz="half" idx="14"/>
          </p:nvPr>
        </p:nvSpPr>
        <p:spPr>
          <a:xfrm>
            <a:off x="6561245" y="6175928"/>
            <a:ext cx="876142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en-US" noProof="0" dirty="0"/>
          </a:p>
        </p:txBody>
      </p:sp>
      <p:sp>
        <p:nvSpPr>
          <p:cNvPr id="13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5793305" y="6175928"/>
            <a:ext cx="380931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4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2913213" y="6172034"/>
            <a:ext cx="2493083" cy="342891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6065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attern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/>
          <p:nvPr userDrawn="1"/>
        </p:nvGrpSpPr>
        <p:grpSpPr bwMode="black">
          <a:xfrm>
            <a:off x="342679" y="5833164"/>
            <a:ext cx="1390876" cy="687145"/>
            <a:chOff x="323850" y="5511800"/>
            <a:chExt cx="1314450" cy="649288"/>
          </a:xfrm>
        </p:grpSpPr>
        <p:sp>
          <p:nvSpPr>
            <p:cNvPr id="8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>
                <a:solidFill>
                  <a:srgbClr val="FF0000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>
                <a:solidFill>
                  <a:srgbClr val="FF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>
                <a:solidFill>
                  <a:srgbClr val="FF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>
                <a:solidFill>
                  <a:srgbClr val="FF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>
                <a:solidFill>
                  <a:srgbClr val="FF0000"/>
                </a:solidFill>
              </a:endParaRPr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9495919" y="6125495"/>
            <a:ext cx="2353403" cy="181446"/>
            <a:chOff x="8974138" y="5788025"/>
            <a:chExt cx="2224088" cy="171450"/>
          </a:xfrm>
        </p:grpSpPr>
        <p:sp>
          <p:nvSpPr>
            <p:cNvPr id="16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4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5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8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9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</p:grpSp>
      <p:sp>
        <p:nvSpPr>
          <p:cNvPr id="35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2681" y="3429000"/>
            <a:ext cx="11506640" cy="1054742"/>
          </a:xfrm>
          <a:noFill/>
        </p:spPr>
        <p:txBody>
          <a:bodyPr wrap="square" lIns="0" tIns="144000">
            <a:noAutofit/>
          </a:bodyPr>
          <a:lstStyle>
            <a:lvl1pPr>
              <a:defRPr sz="6349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 (60) 75 90 P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342680" y="1077512"/>
            <a:ext cx="9153239" cy="967714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  <a:sym typeface="Wingdings" panose="05000000000000000000" pitchFamily="2" charset="2"/>
              </a:defRPr>
            </a:lvl1pPr>
          </a:lstStyle>
          <a:p>
            <a:pPr lvl="0"/>
            <a:r>
              <a:rPr lang="de-DE" dirty="0"/>
              <a:t>Add a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 err="1"/>
              <a:t>pictures</a:t>
            </a:r>
            <a:r>
              <a:rPr lang="de-DE" dirty="0"/>
              <a:t>: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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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photo</a:t>
            </a:r>
            <a:r>
              <a:rPr lang="de-DE" dirty="0"/>
              <a:t> 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f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14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488636"/>
            <a:ext cx="11504128" cy="5333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0043A55F-06FC-413A-BF8D-754E5502EB2F}" type="datetime3">
              <a:rPr lang="en-US" noProof="0" smtClean="0"/>
              <a:pPr fontAlgn="base">
                <a:spcAft>
                  <a:spcPct val="0"/>
                </a:spcAft>
              </a:pPr>
              <a:t>2 March 2020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– Strictly confidential, Confidential, Internal –                         Author /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420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pty slide (grey)">
    <p:bg>
      <p:bgPr>
        <a:blipFill dpi="0" rotWithShape="1">
          <a:blip r:embed="rId4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dirty="0"/>
              <a:t>22.09.2017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* </a:t>
            </a:r>
            <a:r>
              <a:rPr lang="en-US" dirty="0" err="1"/>
              <a:t>Abhängig</a:t>
            </a:r>
            <a:r>
              <a:rPr lang="en-US" dirty="0"/>
              <a:t> von der </a:t>
            </a:r>
            <a:r>
              <a:rPr lang="en-US" dirty="0" err="1"/>
              <a:t>Verfügbarkeit</a:t>
            </a:r>
            <a:r>
              <a:rPr lang="en-US" dirty="0"/>
              <a:t> in O365 Deutschland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446A7CE-4873-4A9A-A233-0CCCAA6D7B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2407" y="6330961"/>
            <a:ext cx="1273790" cy="443558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7885048-A94B-41DB-B8D2-041B3D408935}"/>
              </a:ext>
            </a:extLst>
          </p:cNvPr>
          <p:cNvSpPr/>
          <p:nvPr userDrawn="1"/>
        </p:nvSpPr>
        <p:spPr>
          <a:xfrm>
            <a:off x="4406615" y="6267146"/>
            <a:ext cx="6096000" cy="55399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600" dirty="0">
                <a:solidFill>
                  <a:schemeClr val="bg1"/>
                </a:solidFill>
              </a:rPr>
              <a:t>Dieses Material steht unter der</a:t>
            </a:r>
          </a:p>
          <a:p>
            <a:r>
              <a:rPr lang="de-DE" sz="600" dirty="0">
                <a:solidFill>
                  <a:schemeClr val="bg1"/>
                </a:solidFill>
              </a:rPr>
              <a:t>Creative-Commons-Lizenz Namensnennung - Weitergabe</a:t>
            </a:r>
          </a:p>
          <a:p>
            <a:r>
              <a:rPr lang="de-DE" sz="600" dirty="0">
                <a:solidFill>
                  <a:schemeClr val="bg1"/>
                </a:solidFill>
              </a:rPr>
              <a:t>unter gleichen Bedingungen 4.0 International.</a:t>
            </a:r>
          </a:p>
          <a:p>
            <a:r>
              <a:rPr lang="de-DE" sz="600" dirty="0">
                <a:solidFill>
                  <a:schemeClr val="bg1"/>
                </a:solidFill>
              </a:rPr>
              <a:t>Um eine Kopie dieser Lizenz zu sehen, besuchen Sie</a:t>
            </a:r>
          </a:p>
          <a:p>
            <a:r>
              <a:rPr lang="de-DE" sz="600" dirty="0">
                <a:solidFill>
                  <a:schemeClr val="bg1"/>
                </a:solidFill>
              </a:rPr>
              <a:t>http://creativecommons.org/licenses/by-sa/4.0/</a:t>
            </a:r>
            <a:endParaRPr lang="en-US" sz="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75163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lide Magenta Header">
    <p:bg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30" descr="T_Logo_3c_Slogan_p_INT.emf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38" y="6255851"/>
            <a:ext cx="2551550" cy="380990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gray">
          <a:xfrm>
            <a:off x="229004" y="5649030"/>
            <a:ext cx="12108660" cy="2073416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>
            <a:off x="11149507" y="-78768"/>
            <a:ext cx="1108479" cy="6222626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12" name="Textfeld 11"/>
          <p:cNvSpPr txBox="1"/>
          <p:nvPr userDrawn="1"/>
        </p:nvSpPr>
        <p:spPr bwMode="gray">
          <a:xfrm>
            <a:off x="9544009" y="6194727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9" name="Titel 1"/>
          <p:cNvSpPr txBox="1">
            <a:spLocks/>
          </p:cNvSpPr>
          <p:nvPr userDrawn="1"/>
        </p:nvSpPr>
        <p:spPr bwMode="gray">
          <a:xfrm>
            <a:off x="342838" y="266693"/>
            <a:ext cx="8540958" cy="52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32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en-US" sz="3200" kern="1200" noProof="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5pPr>
            <a:lvl6pPr marL="457171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6pPr>
            <a:lvl7pPr marL="914342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7pPr>
            <a:lvl8pPr marL="137151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8pPr>
            <a:lvl9pPr marL="182868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3386"/>
              <a:t>Headline. Subheadli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342679" y="1081958"/>
            <a:ext cx="8797971" cy="921779"/>
          </a:xfrm>
        </p:spPr>
        <p:txBody>
          <a:bodyPr/>
          <a:lstStyle>
            <a:lvl1pPr marL="0" marR="0" indent="0" algn="l" defTabSz="609705" rtl="0" eaLnBrk="1" fontAlgn="base" latinLnBrk="0" hangingPunct="1">
              <a:lnSpc>
                <a:spcPct val="104000"/>
              </a:lnSpc>
              <a:spcBef>
                <a:spcPts val="1270"/>
              </a:spcBef>
              <a:spcAft>
                <a:spcPct val="0"/>
              </a:spcAft>
              <a:buClr>
                <a:srgbClr val="E20074"/>
              </a:buClr>
              <a:buSzTx/>
              <a:buFont typeface="Wingdings" pitchFamily="2" charset="2"/>
              <a:buNone/>
              <a:tabLst/>
              <a:defRPr>
                <a:solidFill>
                  <a:schemeClr val="bg1"/>
                </a:solidFill>
                <a:sym typeface="Wingdings" panose="05000000000000000000" pitchFamily="2" charset="2"/>
              </a:defRPr>
            </a:lvl1pPr>
          </a:lstStyle>
          <a:p>
            <a:pPr lvl="0"/>
            <a:r>
              <a:rPr lang="de-DE" dirty="0"/>
              <a:t>Add a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 err="1"/>
              <a:t>pictures</a:t>
            </a:r>
            <a:r>
              <a:rPr lang="de-DE" dirty="0"/>
              <a:t>: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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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photo</a:t>
            </a:r>
            <a:r>
              <a:rPr lang="de-DE" dirty="0"/>
              <a:t> 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file</a:t>
            </a: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6259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lide Pattern">
    <p:bg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16"/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6808"/>
            <a:ext cx="12192001" cy="6858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 bwMode="gray">
          <a:xfrm>
            <a:off x="9544009" y="6194727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</a:t>
            </a:r>
            <a:r>
              <a:rPr lang="de-DE" sz="1481" b="1" dirty="0">
                <a:solidFill>
                  <a:schemeClr val="bg1"/>
                </a:solidFill>
                <a:latin typeface="+mj-lt"/>
                <a:cs typeface="Helvetica" panose="020B0604020202020204" pitchFamily="34" charset="0"/>
              </a:rPr>
              <a:t>Digital &amp; Innovation</a:t>
            </a:r>
          </a:p>
        </p:txBody>
      </p:sp>
      <p:pic>
        <p:nvPicPr>
          <p:cNvPr id="12" name="Grafik 31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924"/>
          <a:stretch>
            <a:fillRect/>
          </a:stretch>
        </p:blipFill>
        <p:spPr bwMode="black">
          <a:xfrm>
            <a:off x="342838" y="5985348"/>
            <a:ext cx="1385879" cy="529576"/>
          </a:xfrm>
          <a:prstGeom prst="rect">
            <a:avLst/>
          </a:prstGeom>
        </p:spPr>
      </p:pic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341668" y="1082294"/>
            <a:ext cx="8639619" cy="1319913"/>
          </a:xfrm>
        </p:spPr>
        <p:txBody>
          <a:bodyPr/>
          <a:lstStyle>
            <a:lvl1pPr marL="0" marR="0" indent="0" algn="l" defTabSz="609705" rtl="0" eaLnBrk="1" fontAlgn="base" latinLnBrk="0" hangingPunct="1">
              <a:lnSpc>
                <a:spcPct val="104000"/>
              </a:lnSpc>
              <a:spcBef>
                <a:spcPts val="1270"/>
              </a:spcBef>
              <a:spcAft>
                <a:spcPct val="0"/>
              </a:spcAft>
              <a:buClr>
                <a:srgbClr val="E20074"/>
              </a:buClr>
              <a:buSzTx/>
              <a:buFont typeface="Wingdings" pitchFamily="2" charset="2"/>
              <a:buNone/>
              <a:tabLst/>
              <a:defRPr baseline="0">
                <a:solidFill>
                  <a:schemeClr val="bg1"/>
                </a:solidFill>
                <a:sym typeface="Wingdings" panose="05000000000000000000" pitchFamily="2" charset="2"/>
              </a:defRPr>
            </a:lvl1pPr>
          </a:lstStyle>
          <a:p>
            <a:pPr lvl="0"/>
            <a:r>
              <a:rPr lang="de-DE" dirty="0"/>
              <a:t>Add a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 err="1"/>
              <a:t>pictures</a:t>
            </a:r>
            <a:r>
              <a:rPr lang="de-DE" dirty="0"/>
              <a:t>: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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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photo</a:t>
            </a:r>
            <a:r>
              <a:rPr lang="de-DE" dirty="0"/>
              <a:t> 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f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0498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/Divider Magenta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2681" y="342732"/>
            <a:ext cx="11506640" cy="703558"/>
          </a:xfrm>
          <a:noFill/>
        </p:spPr>
        <p:txBody>
          <a:bodyPr wrap="square" lIns="0" tIns="0">
            <a:spAutoFit/>
          </a:bodyPr>
          <a:lstStyle>
            <a:lvl1pPr>
              <a:defRPr lang="en-US" sz="5079" kern="1200" dirty="0" smtClean="0">
                <a:solidFill>
                  <a:schemeClr val="bg1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</a:lstStyle>
          <a:p>
            <a:r>
              <a:rPr lang="en-US" dirty="0"/>
              <a:t>Content/Agenda Headline</a:t>
            </a:r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229004" y="5649030"/>
            <a:ext cx="12108660" cy="2073416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11149507" y="-78768"/>
            <a:ext cx="1108479" cy="6222626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5407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/Divider Magenta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2681" y="342732"/>
            <a:ext cx="11506640" cy="703558"/>
          </a:xfrm>
          <a:noFill/>
        </p:spPr>
        <p:txBody>
          <a:bodyPr wrap="square" lIns="0" tIns="0">
            <a:spAutoFit/>
          </a:bodyPr>
          <a:lstStyle>
            <a:lvl1pPr>
              <a:defRPr lang="en-US" sz="5079" kern="1200" dirty="0" smtClean="0">
                <a:solidFill>
                  <a:schemeClr val="bg1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</a:lstStyle>
          <a:p>
            <a:r>
              <a:rPr lang="en-US" dirty="0"/>
              <a:t>Content/Agenda Headline</a:t>
            </a:r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229004" y="5649030"/>
            <a:ext cx="12108660" cy="2073416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11149507" y="-78768"/>
            <a:ext cx="1108479" cy="6222626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725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Divider Pattern">
    <p:bg>
      <p:bgPr>
        <a:blipFill dpi="0" rotWithShape="1">
          <a:blip r:embed="rId2" cstate="email">
            <a:alphaModFix amt="22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2681" y="342732"/>
            <a:ext cx="11506640" cy="703558"/>
          </a:xfrm>
          <a:noFill/>
        </p:spPr>
        <p:txBody>
          <a:bodyPr wrap="square" lIns="0" tIns="0">
            <a:spAutoFit/>
          </a:bodyPr>
          <a:lstStyle>
            <a:lvl1pPr>
              <a:defRPr lang="en-US" sz="5079" kern="1200" dirty="0" smtClean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</a:lstStyle>
          <a:p>
            <a:r>
              <a:rPr lang="en-US" dirty="0"/>
              <a:t>Content/Agenda Headline</a:t>
            </a:r>
          </a:p>
        </p:txBody>
      </p:sp>
      <p:sp>
        <p:nvSpPr>
          <p:cNvPr id="8" name="Textfeld 7"/>
          <p:cNvSpPr txBox="1"/>
          <p:nvPr userDrawn="1"/>
        </p:nvSpPr>
        <p:spPr bwMode="gray">
          <a:xfrm>
            <a:off x="9544009" y="6204357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</p:spTree>
    <p:extLst>
      <p:ext uri="{BB962C8B-B14F-4D97-AF65-F5344CB8AC3E}">
        <p14:creationId xmlns:p14="http://schemas.microsoft.com/office/powerpoint/2010/main" val="292790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/Diver HR Peop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21" y="1441"/>
          <a:ext cx="191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1" y="1441"/>
                        <a:ext cx="191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8" descr="HR Pattern-01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0133" cy="68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435401" y="1371372"/>
            <a:ext cx="11320441" cy="2402433"/>
          </a:xfrm>
        </p:spPr>
        <p:txBody>
          <a:bodyPr/>
          <a:lstStyle>
            <a:lvl1pPr marL="0" marR="0" indent="0" algn="l" defTabSz="48389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079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kumimoji="0" lang="en-US" sz="5714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714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714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-67898" y="5055865"/>
            <a:ext cx="4124885" cy="1904884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3216733" y="5817561"/>
            <a:ext cx="9276747" cy="1904884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8133101" y="4397157"/>
            <a:ext cx="4124885" cy="2685008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11008183" y="1"/>
            <a:ext cx="2073907" cy="5194208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9544009" y="6194727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</a:t>
            </a:r>
            <a:r>
              <a:rPr lang="de-DE" sz="1481" b="1" dirty="0">
                <a:solidFill>
                  <a:schemeClr val="bg1"/>
                </a:solidFill>
                <a:latin typeface="+mj-lt"/>
                <a:cs typeface="Helvetica" panose="020B0604020202020204" pitchFamily="34" charset="0"/>
              </a:rPr>
              <a:t>Digital &amp; Innovation</a:t>
            </a:r>
          </a:p>
        </p:txBody>
      </p:sp>
      <p:pic>
        <p:nvPicPr>
          <p:cNvPr id="14" name="Grafik 31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924"/>
          <a:stretch>
            <a:fillRect/>
          </a:stretch>
        </p:blipFill>
        <p:spPr bwMode="black">
          <a:xfrm>
            <a:off x="342838" y="5985348"/>
            <a:ext cx="1385879" cy="529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61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/Divider Picture">
    <p:bg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686297" y="3669172"/>
            <a:ext cx="9917717" cy="1407117"/>
          </a:xfrm>
        </p:spPr>
        <p:txBody>
          <a:bodyPr/>
          <a:lstStyle>
            <a:lvl1pPr marL="0" marR="0" indent="0" algn="l" defTabSz="48389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539" baseline="0">
                <a:solidFill>
                  <a:schemeClr val="bg1"/>
                </a:solidFill>
                <a:sym typeface="Wingdings" panose="05000000000000000000" pitchFamily="2" charset="2"/>
              </a:defRPr>
            </a:lvl1pPr>
          </a:lstStyle>
          <a:p>
            <a:r>
              <a:rPr lang="en-US" dirty="0"/>
              <a:t>Add a Photo as background to complement your key message</a:t>
            </a:r>
            <a:br>
              <a:rPr lang="en-US" dirty="0"/>
            </a:br>
            <a:r>
              <a:rPr lang="en-US" dirty="0"/>
              <a:t>You can find pictures on: www.pexels.com or www.pixabay.com</a:t>
            </a:r>
            <a:br>
              <a:rPr lang="en-US" dirty="0"/>
            </a:br>
            <a:r>
              <a:rPr lang="en-US" dirty="0"/>
              <a:t>To insert your picture:</a:t>
            </a:r>
            <a:br>
              <a:rPr lang="en-US" dirty="0"/>
            </a:br>
            <a:r>
              <a:rPr lang="en-US" dirty="0"/>
              <a:t>Right click  format background  Insert Photo  Choose File</a:t>
            </a:r>
          </a:p>
        </p:txBody>
      </p:sp>
      <p:sp>
        <p:nvSpPr>
          <p:cNvPr id="5" name="Rechteck 4"/>
          <p:cNvSpPr/>
          <p:nvPr userDrawn="1"/>
        </p:nvSpPr>
        <p:spPr bwMode="gray">
          <a:xfrm>
            <a:off x="229004" y="5649030"/>
            <a:ext cx="12108660" cy="2073416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11149507" y="-78768"/>
            <a:ext cx="1108479" cy="6222626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pic>
        <p:nvPicPr>
          <p:cNvPr id="10" name="Grafik 30" descr="T_Logo_3c_Slogan_p_INT.emf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38" y="6255851"/>
            <a:ext cx="2551550" cy="380990"/>
          </a:xfrm>
          <a:prstGeom prst="rect">
            <a:avLst/>
          </a:prstGeom>
        </p:spPr>
      </p:pic>
      <p:sp>
        <p:nvSpPr>
          <p:cNvPr id="8" name="Textfeld 7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</p:spTree>
    <p:extLst>
      <p:ext uri="{BB962C8B-B14F-4D97-AF65-F5344CB8AC3E}">
        <p14:creationId xmlns:p14="http://schemas.microsoft.com/office/powerpoint/2010/main" val="15975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Folie" r:id="rId25" imgW="360" imgH="360" progId="TCLayout.ActiveDocument.1">
                  <p:embed/>
                </p:oleObj>
              </mc:Choice>
              <mc:Fallback>
                <p:oleObj name="think-cell Folie" r:id="rId2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42681" y="266693"/>
            <a:ext cx="11504128" cy="533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42838" y="1562058"/>
            <a:ext cx="11504128" cy="4267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483232" y="6172034"/>
            <a:ext cx="876142" cy="342891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0970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466035" y="6172034"/>
            <a:ext cx="380931" cy="34289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0970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933061" y="6172034"/>
            <a:ext cx="5447319" cy="34289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0970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r>
              <a:rPr lang="en-US" noProof="0" dirty="0"/>
              <a:t>– Strictly confidential, Confidential, Internal –     Author/Presentation Topic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40" y="6172033"/>
            <a:ext cx="2296395" cy="34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700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8389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386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2pPr>
      <a:lvl3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3pPr>
      <a:lvl4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4pPr>
      <a:lvl5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5pPr>
      <a:lvl6pPr marL="483733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6pPr>
      <a:lvl7pPr marL="967465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7pPr>
      <a:lvl8pPr marL="1451198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8pPr>
      <a:lvl9pPr marL="1934929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9pPr>
    </p:titleStyle>
    <p:bodyStyle>
      <a:lvl1pPr algn="l" defTabSz="609705" rtl="0" eaLnBrk="1" fontAlgn="base" hangingPunct="1">
        <a:lnSpc>
          <a:spcPct val="104000"/>
        </a:lnSpc>
        <a:spcBef>
          <a:spcPts val="1270"/>
        </a:spcBef>
        <a:spcAft>
          <a:spcPct val="0"/>
        </a:spcAft>
        <a:buClr>
          <a:schemeClr val="tx2"/>
        </a:buClr>
        <a:buFont typeface="Wingdings" pitchFamily="2" charset="2"/>
        <a:defRPr sz="1905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680" algn="l" defTabSz="609705" rtl="0" eaLnBrk="1" fontAlgn="base" hangingPunct="1">
        <a:lnSpc>
          <a:spcPct val="104000"/>
        </a:lnSpc>
        <a:spcBef>
          <a:spcPts val="317"/>
        </a:spcBef>
        <a:spcAft>
          <a:spcPct val="0"/>
        </a:spcAft>
        <a:buClr>
          <a:schemeClr val="tx2"/>
        </a:buClr>
        <a:buFont typeface="Wingdings" pitchFamily="2" charset="2"/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228550" indent="-228550" algn="l" defTabSz="609705" rtl="0" eaLnBrk="1" fontAlgn="base" hangingPunct="1">
        <a:lnSpc>
          <a:spcPct val="104000"/>
        </a:lnSpc>
        <a:spcBef>
          <a:spcPts val="317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457099" indent="-228429" algn="l" defTabSz="609705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685649" indent="-228550" algn="l" defTabSz="609705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660529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6pPr>
      <a:lvl7pPr marL="3144259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7pPr>
      <a:lvl8pPr marL="3627992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8pPr>
      <a:lvl9pPr marL="4111725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733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465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198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4929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8662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2395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126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69858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70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674">
          <p15:clr>
            <a:srgbClr val="F26B43"/>
          </p15:clr>
        </p15:guide>
        <p15:guide id="9" orient="horz" pos="3266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10">
          <p15:clr>
            <a:srgbClr val="F26B43"/>
          </p15:clr>
        </p15:guide>
        <p15:guide id="17" pos="53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1.xml"/><Relationship Id="rId5" Type="http://schemas.openxmlformats.org/officeDocument/2006/relationships/hyperlink" Target="https://makecodebeta.calliope.cc/#editor" TargetMode="External"/><Relationship Id="rId4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4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13" Type="http://schemas.openxmlformats.org/officeDocument/2006/relationships/image" Target="../media/image60.jpeg"/><Relationship Id="rId3" Type="http://schemas.openxmlformats.org/officeDocument/2006/relationships/image" Target="../media/image54.jpeg"/><Relationship Id="rId7" Type="http://schemas.openxmlformats.org/officeDocument/2006/relationships/image" Target="../media/image55.jpe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1.jpeg"/><Relationship Id="rId11" Type="http://schemas.openxmlformats.org/officeDocument/2006/relationships/image" Target="../media/image59.jpeg"/><Relationship Id="rId5" Type="http://schemas.openxmlformats.org/officeDocument/2006/relationships/image" Target="../media/image30.jpeg"/><Relationship Id="rId10" Type="http://schemas.openxmlformats.org/officeDocument/2006/relationships/image" Target="../media/image58.jpeg"/><Relationship Id="rId4" Type="http://schemas.openxmlformats.org/officeDocument/2006/relationships/image" Target="../media/image29.jpeg"/><Relationship Id="rId9" Type="http://schemas.openxmlformats.org/officeDocument/2006/relationships/image" Target="../media/image57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jpeg"/><Relationship Id="rId7" Type="http://schemas.openxmlformats.org/officeDocument/2006/relationships/image" Target="../media/image6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10" Type="http://schemas.microsoft.com/office/2007/relationships/hdphoto" Target="../media/hdphoto1.wdp"/><Relationship Id="rId4" Type="http://schemas.openxmlformats.org/officeDocument/2006/relationships/image" Target="../media/image62.jpeg"/><Relationship Id="rId9" Type="http://schemas.openxmlformats.org/officeDocument/2006/relationships/image" Target="../media/image6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65.jpeg"/><Relationship Id="rId5" Type="http://schemas.openxmlformats.org/officeDocument/2006/relationships/image" Target="../media/image62.jpeg"/><Relationship Id="rId4" Type="http://schemas.microsoft.com/office/2007/relationships/hdphoto" Target="../media/hdphoto2.wdp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microsoft.com/office/2007/relationships/hdphoto" Target="../media/hdphoto3.wdp"/><Relationship Id="rId3" Type="http://schemas.openxmlformats.org/officeDocument/2006/relationships/slideLayout" Target="../slideLayouts/slideLayout21.xml"/><Relationship Id="rId7" Type="http://schemas.openxmlformats.org/officeDocument/2006/relationships/hyperlink" Target="https://youtu.be/kVmp0uGtShk" TargetMode="External"/><Relationship Id="rId12" Type="http://schemas.openxmlformats.org/officeDocument/2006/relationships/image" Target="../media/image73.png"/><Relationship Id="rId2" Type="http://schemas.openxmlformats.org/officeDocument/2006/relationships/video" Target="https://www.youtube.com/embed/kVmp0uGtShk" TargetMode="External"/><Relationship Id="rId1" Type="http://schemas.openxmlformats.org/officeDocument/2006/relationships/video" Target="https://www.youtube.com/embed/w3f-WyDqOUw" TargetMode="External"/><Relationship Id="rId6" Type="http://schemas.openxmlformats.org/officeDocument/2006/relationships/hyperlink" Target="https://www.youtube.com/watch?v=w3f-WyDqOUw" TargetMode="External"/><Relationship Id="rId11" Type="http://schemas.openxmlformats.org/officeDocument/2006/relationships/image" Target="../media/image42.png"/><Relationship Id="rId5" Type="http://schemas.openxmlformats.org/officeDocument/2006/relationships/image" Target="../media/image69.jpeg"/><Relationship Id="rId10" Type="http://schemas.openxmlformats.org/officeDocument/2006/relationships/image" Target="../media/image72.jpe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71.jpeg"/><Relationship Id="rId14" Type="http://schemas.openxmlformats.org/officeDocument/2006/relationships/image" Target="../media/image7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.xml"/><Relationship Id="rId4" Type="http://schemas.microsoft.com/office/2007/relationships/hdphoto" Target="../media/hdphoto4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microsoft.com/office/2007/relationships/hdphoto" Target="../media/hdphoto6.wdp"/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87.png"/><Relationship Id="rId5" Type="http://schemas.microsoft.com/office/2007/relationships/hdphoto" Target="../media/hdphoto5.wdp"/><Relationship Id="rId4" Type="http://schemas.openxmlformats.org/officeDocument/2006/relationships/image" Target="../media/image8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2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jpeg"/><Relationship Id="rId3" Type="http://schemas.openxmlformats.org/officeDocument/2006/relationships/image" Target="../media/image43.png"/><Relationship Id="rId7" Type="http://schemas.openxmlformats.org/officeDocument/2006/relationships/image" Target="../media/image97.jpeg"/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96.png"/><Relationship Id="rId5" Type="http://schemas.openxmlformats.org/officeDocument/2006/relationships/image" Target="../media/image95.jpeg"/><Relationship Id="rId4" Type="http://schemas.openxmlformats.org/officeDocument/2006/relationships/image" Target="../media/image94.png"/><Relationship Id="rId9" Type="http://schemas.openxmlformats.org/officeDocument/2006/relationships/image" Target="../media/image9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1.xml"/><Relationship Id="rId4" Type="http://schemas.microsoft.com/office/2007/relationships/hdphoto" Target="../media/hdphoto6.wdp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Relationship Id="rId4" Type="http://schemas.microsoft.com/office/2007/relationships/hdphoto" Target="../media/hdphoto7.wdp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07.png"/><Relationship Id="rId4" Type="http://schemas.openxmlformats.org/officeDocument/2006/relationships/image" Target="../media/image10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13.png"/><Relationship Id="rId5" Type="http://schemas.openxmlformats.org/officeDocument/2006/relationships/image" Target="../media/image105.png"/><Relationship Id="rId4" Type="http://schemas.openxmlformats.org/officeDocument/2006/relationships/image" Target="../media/image11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16.png"/><Relationship Id="rId4" Type="http://schemas.openxmlformats.org/officeDocument/2006/relationships/image" Target="../media/image10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7" Type="http://schemas.microsoft.com/office/2007/relationships/hdphoto" Target="../media/hdphoto9.wdp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22.png"/><Relationship Id="rId5" Type="http://schemas.openxmlformats.org/officeDocument/2006/relationships/image" Target="../media/image42.png"/><Relationship Id="rId4" Type="http://schemas.openxmlformats.org/officeDocument/2006/relationships/image" Target="../media/image121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3.jpeg"/><Relationship Id="rId11" Type="http://schemas.openxmlformats.org/officeDocument/2006/relationships/image" Target="../media/image28.jpeg"/><Relationship Id="rId5" Type="http://schemas.openxmlformats.org/officeDocument/2006/relationships/image" Target="../media/image22.jpeg"/><Relationship Id="rId10" Type="http://schemas.openxmlformats.org/officeDocument/2006/relationships/image" Target="../media/image27.jpeg"/><Relationship Id="rId4" Type="http://schemas.openxmlformats.org/officeDocument/2006/relationships/image" Target="../media/image21.jpeg"/><Relationship Id="rId9" Type="http://schemas.openxmlformats.org/officeDocument/2006/relationships/image" Target="../media/image26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9.jpe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Relationship Id="rId9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4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9.jpe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15234" y="3927230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as </a:t>
            </a:r>
            <a:r>
              <a:rPr lang="de-DE" sz="4000" dirty="0" err="1">
                <a:solidFill>
                  <a:schemeClr val="bg1"/>
                </a:solidFill>
              </a:rPr>
              <a:t>is‘n</a:t>
            </a:r>
            <a:r>
              <a:rPr lang="de-DE" sz="4000" dirty="0">
                <a:solidFill>
                  <a:schemeClr val="bg1"/>
                </a:solidFill>
              </a:rPr>
              <a:t> eigentlich KI? </a:t>
            </a:r>
          </a:p>
          <a:p>
            <a:br>
              <a:rPr lang="de-DE" sz="4000" dirty="0">
                <a:solidFill>
                  <a:schemeClr val="bg1"/>
                </a:solidFill>
              </a:rPr>
            </a:br>
            <a:r>
              <a:rPr lang="de-DE" sz="4000" dirty="0">
                <a:solidFill>
                  <a:schemeClr val="bg1"/>
                </a:solidFill>
              </a:rPr>
              <a:t>	</a:t>
            </a:r>
            <a:br>
              <a:rPr lang="de-DE" sz="4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Ferenc Hechler, Mirko Jelinek, Christian Schiller, Dirk Wolters	</a:t>
            </a:r>
            <a:br>
              <a:rPr lang="de-DE" sz="4000" dirty="0">
                <a:solidFill>
                  <a:schemeClr val="bg1"/>
                </a:solidFill>
              </a:rPr>
            </a:br>
            <a:br>
              <a:rPr lang="de-DE" sz="2800" dirty="0">
                <a:cs typeface="TeleGrotesk Next Ultra" pitchFamily="2" charset="0"/>
              </a:rPr>
            </a:br>
            <a:r>
              <a:rPr lang="de-DE" sz="2400" dirty="0">
                <a:cs typeface="TeleGrotesk Next Ultra" pitchFamily="2" charset="0"/>
              </a:rPr>
              <a:t>				</a:t>
            </a:r>
            <a:endParaRPr lang="de-DE" sz="3600" dirty="0">
              <a:cs typeface="TeleGrotesk Next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247116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0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as benötigen wir dafür?</a:t>
            </a:r>
            <a:r>
              <a:rPr lang="de-DE" sz="2400" dirty="0">
                <a:cs typeface="TeleGrotesk Next Ultra" pitchFamily="2" charset="0"/>
              </a:rPr>
              <a:t>		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17410" name="Picture 2" descr="Bildergebnis fÃ¼r Calliope">
            <a:extLst>
              <a:ext uri="{FF2B5EF4-FFF2-40B4-BE49-F238E27FC236}">
                <a16:creationId xmlns:a16="http://schemas.microsoft.com/office/drawing/2014/main" id="{AA4C2743-1EF4-4019-8874-FB871A5BBB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2412" y="1282001"/>
            <a:ext cx="2995662" cy="4348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0" name="Picture 12" descr="XMG CORE 17 Gaming Laptop ">
            <a:extLst>
              <a:ext uri="{FF2B5EF4-FFF2-40B4-BE49-F238E27FC236}">
                <a16:creationId xmlns:a16="http://schemas.microsoft.com/office/drawing/2014/main" id="{D96D3257-9FF3-4351-82DE-71080A676E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543"/>
          <a:stretch/>
        </p:blipFill>
        <p:spPr bwMode="auto">
          <a:xfrm>
            <a:off x="969641" y="1440685"/>
            <a:ext cx="5922771" cy="3976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CFB00E83-C4ED-4667-85FA-0F30576CED1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9078" y="1767401"/>
            <a:ext cx="4119104" cy="2430974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4CF19B4A-2327-453B-BCB4-FE31BFD48CED}"/>
              </a:ext>
            </a:extLst>
          </p:cNvPr>
          <p:cNvSpPr/>
          <p:nvPr/>
        </p:nvSpPr>
        <p:spPr>
          <a:xfrm>
            <a:off x="837867" y="5374698"/>
            <a:ext cx="51303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 </a:t>
            </a:r>
            <a:r>
              <a:rPr lang="en-US" b="1" dirty="0" err="1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zum</a:t>
            </a:r>
            <a:r>
              <a:rPr lang="en-US" b="1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Editor: https://makecodebeta.calliope.cc/#editor</a:t>
            </a:r>
            <a:r>
              <a:rPr lang="en-US" b="1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8" name="Picture 2" descr="Bildergebnis fÃ¼r Calliope">
            <a:extLst>
              <a:ext uri="{FF2B5EF4-FFF2-40B4-BE49-F238E27FC236}">
                <a16:creationId xmlns:a16="http://schemas.microsoft.com/office/drawing/2014/main" id="{01FA612A-0AB1-4E90-AFE8-1EC2662715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54358" y="1247135"/>
            <a:ext cx="1497831" cy="217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Bildergebnis fÃ¼r Calliope">
            <a:extLst>
              <a:ext uri="{FF2B5EF4-FFF2-40B4-BE49-F238E27FC236}">
                <a16:creationId xmlns:a16="http://schemas.microsoft.com/office/drawing/2014/main" id="{F961F684-09D6-408A-8F3F-A05B09675A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71729" y="3400383"/>
            <a:ext cx="1099352" cy="1595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3827951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8744FEE5-B064-4292-B4F1-D80D37B2671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0866" y="1227265"/>
            <a:ext cx="4896187" cy="2153889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1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775776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funktioniert das spiel?</a:t>
            </a:r>
            <a:r>
              <a:rPr lang="de-DE" sz="2400" dirty="0">
                <a:cs typeface="TeleGrotesk Next Ultra" pitchFamily="2" charset="0"/>
              </a:rPr>
              <a:t>	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60F08A3-4533-4E2B-9B83-E1E97B0B747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45079" y="2429743"/>
            <a:ext cx="4471969" cy="404548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1EE7C928-3E28-43FE-AE7A-73E7B4C8A0C8}"/>
              </a:ext>
            </a:extLst>
          </p:cNvPr>
          <p:cNvCxnSpPr>
            <a:cxnSpLocks/>
          </p:cNvCxnSpPr>
          <p:nvPr/>
        </p:nvCxnSpPr>
        <p:spPr>
          <a:xfrm flipV="1">
            <a:off x="1347822" y="4430805"/>
            <a:ext cx="7887112" cy="1328"/>
          </a:xfrm>
          <a:prstGeom prst="straightConnector1">
            <a:avLst/>
          </a:prstGeom>
          <a:ln w="63500">
            <a:solidFill>
              <a:schemeClr val="bg1"/>
            </a:solidFill>
            <a:miter lim="800000"/>
            <a:headEnd type="none" w="med" len="med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937C1138-7067-416E-B48F-1867931C87C8}"/>
              </a:ext>
            </a:extLst>
          </p:cNvPr>
          <p:cNvSpPr txBox="1"/>
          <p:nvPr/>
        </p:nvSpPr>
        <p:spPr bwMode="gray">
          <a:xfrm>
            <a:off x="1426481" y="4430804"/>
            <a:ext cx="957595" cy="56025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Eigenes Auto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165B13EE-4981-4432-90C7-7F755C0157B0}"/>
              </a:ext>
            </a:extLst>
          </p:cNvPr>
          <p:cNvCxnSpPr>
            <a:cxnSpLocks/>
          </p:cNvCxnSpPr>
          <p:nvPr/>
        </p:nvCxnSpPr>
        <p:spPr>
          <a:xfrm>
            <a:off x="1347822" y="2670614"/>
            <a:ext cx="8359130" cy="26456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CB9096D2-3CF9-438C-83FB-6F499720241C}"/>
              </a:ext>
            </a:extLst>
          </p:cNvPr>
          <p:cNvSpPr txBox="1"/>
          <p:nvPr/>
        </p:nvSpPr>
        <p:spPr bwMode="gray">
          <a:xfrm>
            <a:off x="1347822" y="2678547"/>
            <a:ext cx="957595" cy="56025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5 Fahrbahnen mit Autos </a:t>
            </a:r>
            <a:br>
              <a:rPr lang="de-DE" sz="2800" dirty="0">
                <a:solidFill>
                  <a:schemeClr val="bg1"/>
                </a:solidFill>
              </a:rPr>
            </a:br>
            <a:r>
              <a:rPr lang="de-DE" sz="2800" dirty="0">
                <a:solidFill>
                  <a:schemeClr val="bg1"/>
                </a:solidFill>
              </a:rPr>
              <a:t>die überholt werden müssen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77BC9FD9-DA30-4442-83FF-AE3873418F05}"/>
              </a:ext>
            </a:extLst>
          </p:cNvPr>
          <p:cNvCxnSpPr>
            <a:cxnSpLocks/>
          </p:cNvCxnSpPr>
          <p:nvPr/>
        </p:nvCxnSpPr>
        <p:spPr>
          <a:xfrm>
            <a:off x="8962361" y="2704337"/>
            <a:ext cx="0" cy="967954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27D2CD37-4708-4D9D-ADA5-8D48D1B62CC5}"/>
              </a:ext>
            </a:extLst>
          </p:cNvPr>
          <p:cNvCxnSpPr>
            <a:cxnSpLocks/>
          </p:cNvCxnSpPr>
          <p:nvPr/>
        </p:nvCxnSpPr>
        <p:spPr>
          <a:xfrm>
            <a:off x="9161804" y="2704337"/>
            <a:ext cx="0" cy="967954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19B46B4B-993B-43FC-9E4F-AAE936D7798C}"/>
              </a:ext>
            </a:extLst>
          </p:cNvPr>
          <p:cNvCxnSpPr>
            <a:cxnSpLocks/>
          </p:cNvCxnSpPr>
          <p:nvPr/>
        </p:nvCxnSpPr>
        <p:spPr>
          <a:xfrm>
            <a:off x="9356688" y="2688899"/>
            <a:ext cx="0" cy="967954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F69482BB-8C0A-47FF-B3B5-4937C8DD2DAF}"/>
              </a:ext>
            </a:extLst>
          </p:cNvPr>
          <p:cNvCxnSpPr>
            <a:cxnSpLocks/>
          </p:cNvCxnSpPr>
          <p:nvPr/>
        </p:nvCxnSpPr>
        <p:spPr>
          <a:xfrm>
            <a:off x="9511812" y="2688899"/>
            <a:ext cx="0" cy="967954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06A0457A-7259-4A19-9C48-24109CE193A0}"/>
              </a:ext>
            </a:extLst>
          </p:cNvPr>
          <p:cNvCxnSpPr>
            <a:cxnSpLocks/>
          </p:cNvCxnSpPr>
          <p:nvPr/>
        </p:nvCxnSpPr>
        <p:spPr>
          <a:xfrm>
            <a:off x="9689224" y="2679876"/>
            <a:ext cx="0" cy="967954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Ellipse 17">
            <a:extLst>
              <a:ext uri="{FF2B5EF4-FFF2-40B4-BE49-F238E27FC236}">
                <a16:creationId xmlns:a16="http://schemas.microsoft.com/office/drawing/2014/main" id="{3CB7FCAF-81BC-4899-83D6-34BDD8324ADF}"/>
              </a:ext>
            </a:extLst>
          </p:cNvPr>
          <p:cNvSpPr/>
          <p:nvPr/>
        </p:nvSpPr>
        <p:spPr bwMode="gray">
          <a:xfrm>
            <a:off x="9210559" y="4308229"/>
            <a:ext cx="256803" cy="230764"/>
          </a:xfrm>
          <a:prstGeom prst="ellipse">
            <a:avLst/>
          </a:prstGeom>
          <a:noFill/>
          <a:ln w="666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0D07BC61-0A5E-493C-9EDB-916E6326EA7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68" b="-4006"/>
          <a:stretch/>
        </p:blipFill>
        <p:spPr>
          <a:xfrm>
            <a:off x="1274338" y="4888327"/>
            <a:ext cx="3557387" cy="827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93378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fik 24">
            <a:extLst>
              <a:ext uri="{FF2B5EF4-FFF2-40B4-BE49-F238E27FC236}">
                <a16:creationId xmlns:a16="http://schemas.microsoft.com/office/drawing/2014/main" id="{B1A84F2B-EA4E-4F11-91C7-797FD37CA06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378" y="1055937"/>
            <a:ext cx="10851386" cy="2006924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2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775776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ist das spiel aufgebaut? – Die Fahrbahnen</a:t>
            </a:r>
            <a:r>
              <a:rPr lang="de-DE" sz="2400" dirty="0">
                <a:cs typeface="TeleGrotesk Next Ultra" pitchFamily="2" charset="0"/>
              </a:rPr>
              <a:t>	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945B2ED-6BF9-458D-8AB3-4363B3AA698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378" y="2901209"/>
            <a:ext cx="11030014" cy="3250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866706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422DDC06-2EE7-45F8-8772-0BDC8AC1EB6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68" b="-4006"/>
          <a:stretch/>
        </p:blipFill>
        <p:spPr>
          <a:xfrm>
            <a:off x="2278570" y="4274642"/>
            <a:ext cx="7208330" cy="1676061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3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775776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ist das spiel aufgebaut? – eigenes Auto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32515BE3-7B55-428A-A22D-8FA1565DACF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496" y="2592388"/>
            <a:ext cx="3120780" cy="2592387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D8316F4-59CE-423C-8F3D-2080E580A2F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42325" y="2808651"/>
            <a:ext cx="3266091" cy="225787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9DB53EE-BF1B-41E8-87C5-F4880A1156C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316"/>
          <a:stretch/>
        </p:blipFill>
        <p:spPr>
          <a:xfrm>
            <a:off x="5020117" y="1476375"/>
            <a:ext cx="4110076" cy="3271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779217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4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15234" y="3927230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Maschinelles lernen - </a:t>
            </a:r>
            <a:r>
              <a:rPr lang="de-DE" sz="4000" dirty="0" err="1">
                <a:solidFill>
                  <a:schemeClr val="bg1"/>
                </a:solidFill>
              </a:rPr>
              <a:t>ki</a:t>
            </a:r>
            <a:endParaRPr lang="de-DE" sz="4000" dirty="0">
              <a:solidFill>
                <a:schemeClr val="bg1"/>
              </a:solidFill>
            </a:endParaRPr>
          </a:p>
          <a:p>
            <a:br>
              <a:rPr lang="de-DE" sz="4000" dirty="0">
                <a:solidFill>
                  <a:schemeClr val="bg1"/>
                </a:solidFill>
              </a:rPr>
            </a:br>
            <a:r>
              <a:rPr lang="de-DE" sz="4000" dirty="0">
                <a:solidFill>
                  <a:schemeClr val="bg1"/>
                </a:solidFill>
              </a:rPr>
              <a:t>	</a:t>
            </a:r>
            <a:r>
              <a:rPr lang="de-DE" sz="2400" dirty="0">
                <a:cs typeface="TeleGrotesk Next Ultra" pitchFamily="2" charset="0"/>
              </a:rPr>
              <a:t>				</a:t>
            </a:r>
            <a:endParaRPr lang="de-DE" sz="3600" dirty="0">
              <a:cs typeface="TeleGrotesk Next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4686105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08562BB8-D635-47AE-BDD4-C0977EA5C7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5</a:t>
            </a:fld>
            <a:endParaRPr lang="en-US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BEDE48B8-EA2A-4BC7-A65B-2BE7838E820C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würde die künstliche </a:t>
            </a:r>
            <a:r>
              <a:rPr lang="de-DE" sz="4000" dirty="0" err="1">
                <a:solidFill>
                  <a:schemeClr val="bg1"/>
                </a:solidFill>
              </a:rPr>
              <a:t>intelligenz</a:t>
            </a:r>
            <a:r>
              <a:rPr lang="de-DE" sz="4000" dirty="0">
                <a:solidFill>
                  <a:schemeClr val="bg1"/>
                </a:solidFill>
              </a:rPr>
              <a:t> backen?</a:t>
            </a:r>
            <a:endParaRPr lang="de-DE" sz="3600" dirty="0">
              <a:cs typeface="TeleGrotesk Next Ultra" pitchFamily="2" charset="0"/>
            </a:endParaRP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CF346C6B-A31F-44F4-9C0B-B801E0296FEB}"/>
              </a:ext>
            </a:extLst>
          </p:cNvPr>
          <p:cNvCxnSpPr>
            <a:cxnSpLocks/>
          </p:cNvCxnSpPr>
          <p:nvPr/>
        </p:nvCxnSpPr>
        <p:spPr>
          <a:xfrm flipV="1">
            <a:off x="3640807" y="2854648"/>
            <a:ext cx="1013004" cy="23406"/>
          </a:xfrm>
          <a:prstGeom prst="straightConnector1">
            <a:avLst/>
          </a:prstGeom>
          <a:ln w="18415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346697B1-B529-4316-8D98-57FADF74A532}"/>
              </a:ext>
            </a:extLst>
          </p:cNvPr>
          <p:cNvCxnSpPr>
            <a:cxnSpLocks/>
          </p:cNvCxnSpPr>
          <p:nvPr/>
        </p:nvCxnSpPr>
        <p:spPr>
          <a:xfrm>
            <a:off x="2759407" y="4508358"/>
            <a:ext cx="1894404" cy="0"/>
          </a:xfrm>
          <a:prstGeom prst="straightConnector1">
            <a:avLst/>
          </a:prstGeom>
          <a:ln w="1143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B162E89-8E15-4833-998A-614627F4DB71}"/>
              </a:ext>
            </a:extLst>
          </p:cNvPr>
          <p:cNvGrpSpPr/>
          <p:nvPr/>
        </p:nvGrpSpPr>
        <p:grpSpPr>
          <a:xfrm>
            <a:off x="8400897" y="2299062"/>
            <a:ext cx="1497984" cy="2261408"/>
            <a:chOff x="10752038" y="3767211"/>
            <a:chExt cx="1164280" cy="1819426"/>
          </a:xfrm>
        </p:grpSpPr>
        <p:pic>
          <p:nvPicPr>
            <p:cNvPr id="24" name="Picture 14" descr="eBook-Titelbild">
              <a:extLst>
                <a:ext uri="{FF2B5EF4-FFF2-40B4-BE49-F238E27FC236}">
                  <a16:creationId xmlns:a16="http://schemas.microsoft.com/office/drawing/2014/main" id="{759A4202-D429-4121-A81A-7E928B0638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52038" y="4333037"/>
              <a:ext cx="1164280" cy="1253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D3A9DD2D-C8A9-4C13-839D-2CEB41799552}"/>
                </a:ext>
              </a:extLst>
            </p:cNvPr>
            <p:cNvSpPr txBox="1"/>
            <p:nvPr/>
          </p:nvSpPr>
          <p:spPr bwMode="gray">
            <a:xfrm>
              <a:off x="10752038" y="3767211"/>
              <a:ext cx="1164280" cy="565825"/>
            </a:xfrm>
            <a:prstGeom prst="rect">
              <a:avLst/>
            </a:prstGeom>
            <a:solidFill>
              <a:schemeClr val="tx2"/>
            </a:solidFill>
            <a:ln w="19050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de-DE" sz="2800" b="1" dirty="0">
                  <a:solidFill>
                    <a:schemeClr val="bg1"/>
                  </a:solidFill>
                </a:rPr>
                <a:t>Rezept</a:t>
              </a:r>
              <a:endParaRPr lang="en-US" sz="2800" b="1" dirty="0" err="1">
                <a:solidFill>
                  <a:schemeClr val="bg1"/>
                </a:solidFill>
              </a:endParaRPr>
            </a:p>
          </p:txBody>
        </p:sp>
      </p:grp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44EE8677-0A16-4D48-AB35-F369A491D590}"/>
              </a:ext>
            </a:extLst>
          </p:cNvPr>
          <p:cNvCxnSpPr>
            <a:cxnSpLocks/>
          </p:cNvCxnSpPr>
          <p:nvPr/>
        </p:nvCxnSpPr>
        <p:spPr>
          <a:xfrm flipV="1">
            <a:off x="7347225" y="3110135"/>
            <a:ext cx="881967" cy="12133"/>
          </a:xfrm>
          <a:prstGeom prst="straightConnector1">
            <a:avLst/>
          </a:prstGeom>
          <a:ln w="1143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5CC56996-BC21-4C8D-9F97-13978CD6AFBF}"/>
              </a:ext>
            </a:extLst>
          </p:cNvPr>
          <p:cNvGrpSpPr/>
          <p:nvPr/>
        </p:nvGrpSpPr>
        <p:grpSpPr>
          <a:xfrm>
            <a:off x="1089734" y="3781405"/>
            <a:ext cx="1488441" cy="2091289"/>
            <a:chOff x="400370" y="2045331"/>
            <a:chExt cx="1117248" cy="1559823"/>
          </a:xfrm>
        </p:grpSpPr>
        <p:pic>
          <p:nvPicPr>
            <p:cNvPr id="39" name="Picture 12" descr="Bildergebnis fÃ¼r Zucker">
              <a:extLst>
                <a:ext uri="{FF2B5EF4-FFF2-40B4-BE49-F238E27FC236}">
                  <a16:creationId xmlns:a16="http://schemas.microsoft.com/office/drawing/2014/main" id="{C14C789F-7A86-488C-9647-DC83B3AFBA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370" y="2468479"/>
              <a:ext cx="1107256" cy="8529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8" descr="Bildergebnis fÃ¼r mehl">
              <a:extLst>
                <a:ext uri="{FF2B5EF4-FFF2-40B4-BE49-F238E27FC236}">
                  <a16:creationId xmlns:a16="http://schemas.microsoft.com/office/drawing/2014/main" id="{8C2B7E03-03CC-4384-9390-F532228A92E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45794" y="3049194"/>
              <a:ext cx="404889" cy="5505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10" descr="Bildergebnis fÃ¼r kakao">
              <a:extLst>
                <a:ext uri="{FF2B5EF4-FFF2-40B4-BE49-F238E27FC236}">
                  <a16:creationId xmlns:a16="http://schemas.microsoft.com/office/drawing/2014/main" id="{ADE4A31B-DC8B-4498-AC58-E62E603745F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6637"/>
            <a:stretch/>
          </p:blipFill>
          <p:spPr bwMode="auto">
            <a:xfrm>
              <a:off x="912624" y="2838749"/>
              <a:ext cx="604994" cy="7664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C9FFD2D4-F84E-41D5-8959-5FAA04245D91}"/>
                </a:ext>
              </a:extLst>
            </p:cNvPr>
            <p:cNvSpPr txBox="1"/>
            <p:nvPr/>
          </p:nvSpPr>
          <p:spPr bwMode="gray">
            <a:xfrm>
              <a:off x="400370" y="2045331"/>
              <a:ext cx="1107256" cy="423148"/>
            </a:xfrm>
            <a:prstGeom prst="rect">
              <a:avLst/>
            </a:prstGeom>
            <a:solidFill>
              <a:schemeClr val="bg2">
                <a:alpha val="83000"/>
              </a:schemeClr>
            </a:solidFill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de-DE" sz="2800" b="1" dirty="0">
                  <a:solidFill>
                    <a:schemeClr val="bg1"/>
                  </a:solidFill>
                </a:rPr>
                <a:t>Zutaten</a:t>
              </a:r>
              <a:endParaRPr lang="en-US" sz="2800" b="1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E870E72-46DD-4D8C-88D3-D63A85A9BF92}"/>
              </a:ext>
            </a:extLst>
          </p:cNvPr>
          <p:cNvGrpSpPr/>
          <p:nvPr/>
        </p:nvGrpSpPr>
        <p:grpSpPr>
          <a:xfrm>
            <a:off x="1550365" y="1468317"/>
            <a:ext cx="1805822" cy="2029426"/>
            <a:chOff x="2411256" y="4081682"/>
            <a:chExt cx="1805822" cy="2029426"/>
          </a:xfrm>
        </p:grpSpPr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366664DE-8854-4ADD-A7FD-F46FFA7DA6C2}"/>
                </a:ext>
              </a:extLst>
            </p:cNvPr>
            <p:cNvGrpSpPr/>
            <p:nvPr/>
          </p:nvGrpSpPr>
          <p:grpSpPr>
            <a:xfrm>
              <a:off x="2411256" y="4081682"/>
              <a:ext cx="1805822" cy="1583712"/>
              <a:chOff x="6438846" y="4155155"/>
              <a:chExt cx="1939225" cy="1908812"/>
            </a:xfrm>
          </p:grpSpPr>
          <p:pic>
            <p:nvPicPr>
              <p:cNvPr id="26" name="Picture 6" descr="Bildergebnis fÃ¼r Muffins">
                <a:extLst>
                  <a:ext uri="{FF2B5EF4-FFF2-40B4-BE49-F238E27FC236}">
                    <a16:creationId xmlns:a16="http://schemas.microsoft.com/office/drawing/2014/main" id="{F91F4D11-0ED9-4FDC-9EE2-616F7C03A63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438846" y="4732229"/>
                <a:ext cx="1164280" cy="13317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692065D-CD9E-4038-991D-0A746464A54D}"/>
                  </a:ext>
                </a:extLst>
              </p:cNvPr>
              <p:cNvSpPr txBox="1"/>
              <p:nvPr/>
            </p:nvSpPr>
            <p:spPr bwMode="gray">
              <a:xfrm>
                <a:off x="6452157" y="4155155"/>
                <a:ext cx="1925914" cy="640749"/>
              </a:xfrm>
              <a:prstGeom prst="rect">
                <a:avLst/>
              </a:prstGeom>
              <a:solidFill>
                <a:schemeClr val="bg2">
                  <a:alpha val="83000"/>
                </a:schemeClr>
              </a:solidFill>
              <a:ln w="19050">
                <a:noFill/>
                <a:miter lim="800000"/>
                <a:headEnd/>
                <a:tailEnd/>
              </a:ln>
            </p:spPr>
            <p:txBody>
              <a:bodyPr vert="horz" wrap="none" lIns="72000" tIns="36000" rIns="7200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de-DE" sz="3200" b="1" dirty="0">
                    <a:solidFill>
                      <a:schemeClr val="bg1"/>
                    </a:solidFill>
                  </a:rPr>
                  <a:t>viele </a:t>
                </a:r>
                <a:r>
                  <a:rPr lang="de-DE" sz="2800" b="1" dirty="0">
                    <a:solidFill>
                      <a:schemeClr val="bg1"/>
                    </a:solidFill>
                  </a:rPr>
                  <a:t>Muffins</a:t>
                </a:r>
                <a:endParaRPr lang="en-US" sz="2800" b="1" dirty="0" err="1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16386" name="Picture 2">
              <a:extLst>
                <a:ext uri="{FF2B5EF4-FFF2-40B4-BE49-F238E27FC236}">
                  <a16:creationId xmlns:a16="http://schemas.microsoft.com/office/drawing/2014/main" id="{DE0EE3ED-3BE9-4201-AFC3-35D75230EB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31028" y="4644170"/>
              <a:ext cx="843299" cy="7800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388" name="Picture 4">
              <a:extLst>
                <a:ext uri="{FF2B5EF4-FFF2-40B4-BE49-F238E27FC236}">
                  <a16:creationId xmlns:a16="http://schemas.microsoft.com/office/drawing/2014/main" id="{59096D07-C28D-44DA-97CA-F8D6152384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7095" y="5306375"/>
              <a:ext cx="1279981" cy="7180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Bildergebnis für muffins">
              <a:extLst>
                <a:ext uri="{FF2B5EF4-FFF2-40B4-BE49-F238E27FC236}">
                  <a16:creationId xmlns:a16="http://schemas.microsoft.com/office/drawing/2014/main" id="{3CB4E60A-2B0F-43E4-B18B-678B53064D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65689" y="5455107"/>
              <a:ext cx="985794" cy="6560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2BD8CE49-A11D-4E79-9EF3-12CA84432B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37095" y="5052375"/>
              <a:ext cx="826589" cy="594720"/>
            </a:xfrm>
            <a:prstGeom prst="rect">
              <a:avLst/>
            </a:prstGeom>
          </p:spPr>
        </p:pic>
      </p:grpSp>
      <p:pic>
        <p:nvPicPr>
          <p:cNvPr id="13" name="Grafik 12">
            <a:extLst>
              <a:ext uri="{FF2B5EF4-FFF2-40B4-BE49-F238E27FC236}">
                <a16:creationId xmlns:a16="http://schemas.microsoft.com/office/drawing/2014/main" id="{21592387-26BD-4CBB-8D7B-FCC285BD0089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61450" y="4311290"/>
            <a:ext cx="2523195" cy="945525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F96230B-D5EE-4585-9E2C-63EC946AF6F6}"/>
              </a:ext>
            </a:extLst>
          </p:cNvPr>
          <p:cNvGrpSpPr/>
          <p:nvPr/>
        </p:nvGrpSpPr>
        <p:grpSpPr>
          <a:xfrm>
            <a:off x="4653811" y="2354378"/>
            <a:ext cx="2668968" cy="2530232"/>
            <a:chOff x="4653811" y="2354378"/>
            <a:chExt cx="2668968" cy="2530232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6B18880-7C07-4FB0-BB47-EF4E8F15732A}"/>
                </a:ext>
              </a:extLst>
            </p:cNvPr>
            <p:cNvSpPr/>
            <p:nvPr/>
          </p:nvSpPr>
          <p:spPr bwMode="gray">
            <a:xfrm>
              <a:off x="4653811" y="2354378"/>
              <a:ext cx="2558396" cy="2530232"/>
            </a:xfrm>
            <a:prstGeom prst="ellipse">
              <a:avLst/>
            </a:prstGeom>
            <a:solidFill>
              <a:schemeClr val="bg1"/>
            </a:solidFill>
            <a:ln w="508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2400" dirty="0">
                  <a:cs typeface="Arial" charset="0"/>
                </a:rPr>
                <a:t>KI</a:t>
              </a:r>
              <a:endParaRPr lang="en-US" sz="2400" dirty="0" err="1">
                <a:cs typeface="Arial" charset="0"/>
              </a:endParaRP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0635163E-C144-4F77-AD44-7124C94329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2144" y="2792626"/>
              <a:ext cx="1521730" cy="1521730"/>
            </a:xfrm>
            <a:prstGeom prst="rect">
              <a:avLst/>
            </a:prstGeom>
          </p:spPr>
        </p:pic>
        <p:sp>
          <p:nvSpPr>
            <p:cNvPr id="2" name="Textfeld 1">
              <a:extLst>
                <a:ext uri="{FF2B5EF4-FFF2-40B4-BE49-F238E27FC236}">
                  <a16:creationId xmlns:a16="http://schemas.microsoft.com/office/drawing/2014/main" id="{16325220-1622-48DD-AED7-3F53956C3BAB}"/>
                </a:ext>
              </a:extLst>
            </p:cNvPr>
            <p:cNvSpPr txBox="1"/>
            <p:nvPr/>
          </p:nvSpPr>
          <p:spPr bwMode="gray">
            <a:xfrm>
              <a:off x="6408379" y="3695964"/>
              <a:ext cx="914400" cy="91440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4000" dirty="0"/>
                <a:t>KI</a:t>
              </a:r>
              <a:endParaRPr lang="en-US" sz="40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4846550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08562BB8-D635-47AE-BDD4-C0977EA5C7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6</a:t>
            </a:fld>
            <a:endParaRPr lang="en-US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BEDE48B8-EA2A-4BC7-A65B-2BE7838E820C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funktioniert maschinelles lernen?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F8862A48-2903-47C7-9F05-E9E3332217A3}"/>
              </a:ext>
            </a:extLst>
          </p:cNvPr>
          <p:cNvSpPr/>
          <p:nvPr/>
        </p:nvSpPr>
        <p:spPr bwMode="gray">
          <a:xfrm>
            <a:off x="4645756" y="1918755"/>
            <a:ext cx="2898453" cy="2705319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0" dirty="0" err="1">
              <a:cs typeface="Arial" charset="0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BAF1179D-0D21-4BD8-8C18-9395A16DF96A}"/>
              </a:ext>
            </a:extLst>
          </p:cNvPr>
          <p:cNvSpPr txBox="1"/>
          <p:nvPr/>
        </p:nvSpPr>
        <p:spPr bwMode="gray">
          <a:xfrm>
            <a:off x="7881804" y="3567190"/>
            <a:ext cx="3109929" cy="657736"/>
          </a:xfrm>
          <a:prstGeom prst="rect">
            <a:avLst/>
          </a:prstGeom>
          <a:solidFill>
            <a:schemeClr val="tx2">
              <a:alpha val="83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marL="92075" algn="ctr"/>
            <a:r>
              <a:rPr lang="de-DE" dirty="0"/>
              <a:t>Spielt selber</a:t>
            </a:r>
            <a:endParaRPr lang="en-US" dirty="0" err="1"/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49249F12-1DFE-4A74-93F1-ECB4423A326F}"/>
              </a:ext>
            </a:extLst>
          </p:cNvPr>
          <p:cNvCxnSpPr>
            <a:cxnSpLocks/>
          </p:cNvCxnSpPr>
          <p:nvPr/>
        </p:nvCxnSpPr>
        <p:spPr>
          <a:xfrm>
            <a:off x="7754920" y="3449777"/>
            <a:ext cx="3837641" cy="0"/>
          </a:xfrm>
          <a:prstGeom prst="straightConnector1">
            <a:avLst/>
          </a:prstGeom>
          <a:ln w="212725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8" name="Grafik 47">
            <a:extLst>
              <a:ext uri="{FF2B5EF4-FFF2-40B4-BE49-F238E27FC236}">
                <a16:creationId xmlns:a16="http://schemas.microsoft.com/office/drawing/2014/main" id="{432497A5-6FED-47A0-9808-AF1BCE5CFE4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40972" y="2631361"/>
            <a:ext cx="2175565" cy="1139965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1E90CD7-6D5D-456A-901D-95882ED20D05}"/>
              </a:ext>
            </a:extLst>
          </p:cNvPr>
          <p:cNvGrpSpPr/>
          <p:nvPr/>
        </p:nvGrpSpPr>
        <p:grpSpPr>
          <a:xfrm>
            <a:off x="7763336" y="1720764"/>
            <a:ext cx="1963449" cy="1654533"/>
            <a:chOff x="7753176" y="1720764"/>
            <a:chExt cx="1963449" cy="1654533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75E043A6-442F-4B63-8D79-8E389C4C2236}"/>
                </a:ext>
              </a:extLst>
            </p:cNvPr>
            <p:cNvGrpSpPr/>
            <p:nvPr/>
          </p:nvGrpSpPr>
          <p:grpSpPr>
            <a:xfrm>
              <a:off x="7753176" y="1720764"/>
              <a:ext cx="1963449" cy="1654533"/>
              <a:chOff x="7753174" y="2154510"/>
              <a:chExt cx="1309603" cy="1236560"/>
            </a:xfrm>
          </p:grpSpPr>
          <p:pic>
            <p:nvPicPr>
              <p:cNvPr id="52" name="Grafik 51">
                <a:extLst>
                  <a:ext uri="{FF2B5EF4-FFF2-40B4-BE49-F238E27FC236}">
                    <a16:creationId xmlns:a16="http://schemas.microsoft.com/office/drawing/2014/main" id="{45891292-2D93-482B-A5BC-7654D8A1D8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53174" y="2154510"/>
                <a:ext cx="1309603" cy="1236560"/>
              </a:xfrm>
              <a:prstGeom prst="rect">
                <a:avLst/>
              </a:prstGeom>
            </p:spPr>
          </p:pic>
          <p:pic>
            <p:nvPicPr>
              <p:cNvPr id="54" name="Grafik 53">
                <a:extLst>
                  <a:ext uri="{FF2B5EF4-FFF2-40B4-BE49-F238E27FC236}">
                    <a16:creationId xmlns:a16="http://schemas.microsoft.com/office/drawing/2014/main" id="{B3B0AAAE-B2E2-4CB3-A179-ED0AF93F107C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762694" y="2708042"/>
                <a:ext cx="414187" cy="412261"/>
              </a:xfrm>
              <a:prstGeom prst="ellipse">
                <a:avLst/>
              </a:prstGeom>
              <a:ln w="25400" cap="rnd">
                <a:noFill/>
              </a:ln>
              <a:effectLst>
                <a:outerShdw blurRad="381000" dist="292100" dir="5400000" sx="-80000" sy="-18000" rotWithShape="0">
                  <a:srgbClr val="000000">
                    <a:alpha val="22000"/>
                  </a:srgbClr>
                </a:outerShdw>
              </a:effectLst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bevelT w="95250" h="31750"/>
                <a:contourClr>
                  <a:srgbClr val="333333"/>
                </a:contourClr>
              </a:sp3d>
            </p:spPr>
          </p:pic>
          <p:pic>
            <p:nvPicPr>
              <p:cNvPr id="53" name="Grafik 52">
                <a:extLst>
                  <a:ext uri="{FF2B5EF4-FFF2-40B4-BE49-F238E27FC236}">
                    <a16:creationId xmlns:a16="http://schemas.microsoft.com/office/drawing/2014/main" id="{8CFA67BD-F123-4A56-AEE1-586EE09AF8F3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616671" y="2736277"/>
                <a:ext cx="414186" cy="412261"/>
              </a:xfrm>
              <a:prstGeom prst="ellipse">
                <a:avLst/>
              </a:prstGeom>
              <a:ln w="117475" cap="rnd">
                <a:noFill/>
              </a:ln>
              <a:effectLst>
                <a:outerShdw blurRad="381000" dist="292100" dir="5400000" sx="-80000" sy="-18000" rotWithShape="0">
                  <a:srgbClr val="000000">
                    <a:alpha val="22000"/>
                  </a:srgbClr>
                </a:outerShdw>
              </a:effectLst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bevelT w="95250" h="31750"/>
                <a:contourClr>
                  <a:srgbClr val="333333"/>
                </a:contourClr>
              </a:sp3d>
            </p:spPr>
          </p:pic>
        </p:grpSp>
        <p:pic>
          <p:nvPicPr>
            <p:cNvPr id="55" name="Picture 2" descr="Bildergebnis fÃ¼r Computer symbol">
              <a:extLst>
                <a:ext uri="{FF2B5EF4-FFF2-40B4-BE49-F238E27FC236}">
                  <a16:creationId xmlns:a16="http://schemas.microsoft.com/office/drawing/2014/main" id="{CE9000A8-656B-4466-BA96-50C16FA22F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6985" y="2459944"/>
              <a:ext cx="724458" cy="476879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2C35FA0A-7BD7-49D5-B420-8F6879261EF6}"/>
              </a:ext>
            </a:extLst>
          </p:cNvPr>
          <p:cNvGrpSpPr/>
          <p:nvPr/>
        </p:nvGrpSpPr>
        <p:grpSpPr>
          <a:xfrm>
            <a:off x="482808" y="4191402"/>
            <a:ext cx="4376876" cy="1405027"/>
            <a:chOff x="482808" y="4191402"/>
            <a:chExt cx="4376876" cy="1405027"/>
          </a:xfrm>
        </p:grpSpPr>
        <p:cxnSp>
          <p:nvCxnSpPr>
            <p:cNvPr id="25" name="Gerade Verbindung mit Pfeil 24">
              <a:extLst>
                <a:ext uri="{FF2B5EF4-FFF2-40B4-BE49-F238E27FC236}">
                  <a16:creationId xmlns:a16="http://schemas.microsoft.com/office/drawing/2014/main" id="{0A9AFB1B-74BB-4B9E-AA5F-30FA23084ACB}"/>
                </a:ext>
              </a:extLst>
            </p:cNvPr>
            <p:cNvCxnSpPr>
              <a:cxnSpLocks/>
            </p:cNvCxnSpPr>
            <p:nvPr/>
          </p:nvCxnSpPr>
          <p:spPr>
            <a:xfrm>
              <a:off x="496772" y="4275102"/>
              <a:ext cx="4198439" cy="0"/>
            </a:xfrm>
            <a:prstGeom prst="straightConnector1">
              <a:avLst/>
            </a:prstGeom>
            <a:ln w="212725">
              <a:solidFill>
                <a:schemeClr val="bg1"/>
              </a:solidFill>
              <a:miter lim="800000"/>
              <a:headEnd type="none" w="med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35DEABB8-E7AA-4E08-8855-549D597C4F83}"/>
                </a:ext>
              </a:extLst>
            </p:cNvPr>
            <p:cNvSpPr txBox="1"/>
            <p:nvPr/>
          </p:nvSpPr>
          <p:spPr bwMode="gray">
            <a:xfrm>
              <a:off x="2754832" y="4575979"/>
              <a:ext cx="2104852" cy="66342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2800" dirty="0">
                  <a:solidFill>
                    <a:schemeClr val="bg1"/>
                  </a:solidFill>
                </a:rPr>
                <a:t>Neuronales Netz</a:t>
              </a:r>
              <a:endParaRPr lang="en-US" sz="2800" dirty="0" err="1">
                <a:solidFill>
                  <a:schemeClr val="bg1"/>
                </a:solidFill>
              </a:endParaRP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6963E28B-7FC3-4D0A-BA5E-7E921DCDE7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2808" y="4191402"/>
              <a:ext cx="2272024" cy="1405027"/>
            </a:xfrm>
            <a:prstGeom prst="rect">
              <a:avLst/>
            </a:prstGeom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31B3154A-249F-4724-9F5C-9597CCDC2339}"/>
              </a:ext>
            </a:extLst>
          </p:cNvPr>
          <p:cNvGrpSpPr/>
          <p:nvPr/>
        </p:nvGrpSpPr>
        <p:grpSpPr>
          <a:xfrm>
            <a:off x="400050" y="1228759"/>
            <a:ext cx="4459634" cy="2393294"/>
            <a:chOff x="400050" y="1228759"/>
            <a:chExt cx="4459634" cy="2393294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1214EE70-AE66-4110-BCA0-C8FF7752E1B9}"/>
                </a:ext>
              </a:extLst>
            </p:cNvPr>
            <p:cNvGrpSpPr/>
            <p:nvPr/>
          </p:nvGrpSpPr>
          <p:grpSpPr>
            <a:xfrm>
              <a:off x="400050" y="1405820"/>
              <a:ext cx="4245704" cy="2216233"/>
              <a:chOff x="400050" y="1405820"/>
              <a:chExt cx="4245704" cy="2216233"/>
            </a:xfrm>
          </p:grpSpPr>
          <p:cxnSp>
            <p:nvCxnSpPr>
              <p:cNvPr id="22" name="Gerade Verbindung mit Pfeil 21">
                <a:extLst>
                  <a:ext uri="{FF2B5EF4-FFF2-40B4-BE49-F238E27FC236}">
                    <a16:creationId xmlns:a16="http://schemas.microsoft.com/office/drawing/2014/main" id="{45D3CC50-58DB-434F-B560-3A6AEA1F81A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95773" y="2983992"/>
                <a:ext cx="3649981" cy="3972"/>
              </a:xfrm>
              <a:prstGeom prst="straightConnector1">
                <a:avLst/>
              </a:prstGeom>
              <a:ln w="212725">
                <a:solidFill>
                  <a:schemeClr val="bg1"/>
                </a:solidFill>
                <a:miter lim="800000"/>
                <a:headEnd type="none" w="med" len="med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6" name="Grafik 65">
                <a:extLst>
                  <a:ext uri="{FF2B5EF4-FFF2-40B4-BE49-F238E27FC236}">
                    <a16:creationId xmlns:a16="http://schemas.microsoft.com/office/drawing/2014/main" id="{E3DA0C66-C21D-4D33-B89B-42763619504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email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-4350"/>
              <a:stretch/>
            </p:blipFill>
            <p:spPr>
              <a:xfrm>
                <a:off x="400050" y="2103030"/>
                <a:ext cx="911341" cy="801090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>
                <a:outerShdw blurRad="152400" dist="12000" dir="900000" sy="98000" kx="110000" ky="200000" algn="tl" rotWithShape="0">
                  <a:srgbClr val="000000">
                    <a:alpha val="30000"/>
                  </a:srgbClr>
                </a:outerShdw>
              </a:effectLst>
              <a:scene3d>
                <a:camera prst="perspectiveRelaxed">
                  <a:rot lat="19800000" lon="1200000" rev="20820000"/>
                </a:camera>
                <a:lightRig rig="threePt" dir="t"/>
              </a:scene3d>
              <a:sp3d contourW="6350" prstMaterial="matte">
                <a:bevelT w="101600" h="101600"/>
                <a:contourClr>
                  <a:srgbClr val="969696"/>
                </a:contourClr>
              </a:sp3d>
            </p:spPr>
          </p:pic>
          <p:pic>
            <p:nvPicPr>
              <p:cNvPr id="67" name="Grafik 66">
                <a:extLst>
                  <a:ext uri="{FF2B5EF4-FFF2-40B4-BE49-F238E27FC236}">
                    <a16:creationId xmlns:a16="http://schemas.microsoft.com/office/drawing/2014/main" id="{589AD4F4-CE83-4EF3-A268-70470BB4B5E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email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-4350"/>
              <a:stretch/>
            </p:blipFill>
            <p:spPr>
              <a:xfrm>
                <a:off x="2492667" y="1712338"/>
                <a:ext cx="911340" cy="801089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>
                <a:outerShdw blurRad="152400" dist="12000" dir="900000" sy="98000" kx="110000" ky="200000" algn="tl" rotWithShape="0">
                  <a:srgbClr val="000000">
                    <a:alpha val="30000"/>
                  </a:srgbClr>
                </a:outerShdw>
              </a:effectLst>
              <a:scene3d>
                <a:camera prst="perspectiveRelaxed">
                  <a:rot lat="19800000" lon="1200000" rev="20820000"/>
                </a:camera>
                <a:lightRig rig="threePt" dir="t"/>
              </a:scene3d>
              <a:sp3d contourW="6350" prstMaterial="matte">
                <a:bevelT w="101600" h="101600"/>
                <a:contourClr>
                  <a:srgbClr val="969696"/>
                </a:contourClr>
              </a:sp3d>
            </p:spPr>
          </p:pic>
          <p:pic>
            <p:nvPicPr>
              <p:cNvPr id="68" name="Grafik 67">
                <a:extLst>
                  <a:ext uri="{FF2B5EF4-FFF2-40B4-BE49-F238E27FC236}">
                    <a16:creationId xmlns:a16="http://schemas.microsoft.com/office/drawing/2014/main" id="{ECE2E322-AD4D-4785-A0AC-15A076BF2B6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email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-4350"/>
              <a:stretch/>
            </p:blipFill>
            <p:spPr>
              <a:xfrm>
                <a:off x="1641800" y="2027295"/>
                <a:ext cx="911340" cy="801089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>
                <a:outerShdw blurRad="152400" dist="12000" dir="900000" sy="98000" kx="110000" ky="200000" algn="tl" rotWithShape="0">
                  <a:srgbClr val="000000">
                    <a:alpha val="30000"/>
                  </a:srgbClr>
                </a:outerShdw>
              </a:effectLst>
              <a:scene3d>
                <a:camera prst="perspectiveRelaxed">
                  <a:rot lat="19800000" lon="1200000" rev="20820000"/>
                </a:camera>
                <a:lightRig rig="threePt" dir="t"/>
              </a:scene3d>
              <a:sp3d contourW="6350" prstMaterial="matte">
                <a:bevelT w="101600" h="101600"/>
                <a:contourClr>
                  <a:srgbClr val="969696"/>
                </a:contourClr>
              </a:sp3d>
            </p:spPr>
          </p:pic>
          <p:pic>
            <p:nvPicPr>
              <p:cNvPr id="69" name="Grafik 68">
                <a:extLst>
                  <a:ext uri="{FF2B5EF4-FFF2-40B4-BE49-F238E27FC236}">
                    <a16:creationId xmlns:a16="http://schemas.microsoft.com/office/drawing/2014/main" id="{E19347EA-F0D7-4BFF-A38B-44F2ADAB8EE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email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-4350"/>
              <a:stretch/>
            </p:blipFill>
            <p:spPr>
              <a:xfrm>
                <a:off x="3487467" y="1900449"/>
                <a:ext cx="911340" cy="801089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>
                <a:outerShdw blurRad="152400" dist="12000" dir="900000" sy="98000" kx="110000" ky="200000" algn="tl" rotWithShape="0">
                  <a:srgbClr val="000000">
                    <a:alpha val="30000"/>
                  </a:srgbClr>
                </a:outerShdw>
              </a:effectLst>
              <a:scene3d>
                <a:camera prst="perspectiveRelaxed">
                  <a:rot lat="19800000" lon="1200000" rev="20820000"/>
                </a:camera>
                <a:lightRig rig="threePt" dir="t"/>
              </a:scene3d>
              <a:sp3d contourW="6350" prstMaterial="matte">
                <a:bevelT w="101600" h="101600"/>
                <a:contourClr>
                  <a:srgbClr val="969696"/>
                </a:contourClr>
              </a:sp3d>
            </p:spPr>
          </p:pic>
          <p:pic>
            <p:nvPicPr>
              <p:cNvPr id="70" name="Grafik 69">
                <a:extLst>
                  <a:ext uri="{FF2B5EF4-FFF2-40B4-BE49-F238E27FC236}">
                    <a16:creationId xmlns:a16="http://schemas.microsoft.com/office/drawing/2014/main" id="{86542EF9-E01C-4C69-BF25-2E2EE5ACF9A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email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-4350"/>
              <a:stretch/>
            </p:blipFill>
            <p:spPr>
              <a:xfrm>
                <a:off x="1104421" y="1405820"/>
                <a:ext cx="911340" cy="801089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>
                <a:outerShdw blurRad="152400" dist="12000" dir="900000" sy="98000" kx="110000" ky="200000" algn="tl" rotWithShape="0">
                  <a:srgbClr val="000000">
                    <a:alpha val="30000"/>
                  </a:srgbClr>
                </a:outerShdw>
              </a:effectLst>
              <a:scene3d>
                <a:camera prst="perspectiveRelaxed">
                  <a:rot lat="19800000" lon="1200000" rev="20820000"/>
                </a:camera>
                <a:lightRig rig="threePt" dir="t"/>
              </a:scene3d>
              <a:sp3d contourW="6350" prstMaterial="matte">
                <a:bevelT w="101600" h="101600"/>
                <a:contourClr>
                  <a:srgbClr val="969696"/>
                </a:contourClr>
              </a:sp3d>
            </p:spPr>
          </p:pic>
          <p:pic>
            <p:nvPicPr>
              <p:cNvPr id="71" name="Grafik 70">
                <a:extLst>
                  <a:ext uri="{FF2B5EF4-FFF2-40B4-BE49-F238E27FC236}">
                    <a16:creationId xmlns:a16="http://schemas.microsoft.com/office/drawing/2014/main" id="{C2E8014A-58B2-4CB1-9BA7-33E23CE89B3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email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-4350"/>
              <a:stretch/>
            </p:blipFill>
            <p:spPr>
              <a:xfrm>
                <a:off x="1106696" y="2820964"/>
                <a:ext cx="911340" cy="801089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>
                <a:outerShdw blurRad="152400" dist="12000" dir="900000" sy="98000" kx="110000" ky="200000" algn="tl" rotWithShape="0">
                  <a:srgbClr val="000000">
                    <a:alpha val="30000"/>
                  </a:srgbClr>
                </a:outerShdw>
              </a:effectLst>
              <a:scene3d>
                <a:camera prst="perspectiveRelaxed">
                  <a:rot lat="19800000" lon="1200000" rev="20820000"/>
                </a:camera>
                <a:lightRig rig="threePt" dir="t"/>
              </a:scene3d>
              <a:sp3d contourW="6350" prstMaterial="matte">
                <a:bevelT w="101600" h="101600"/>
                <a:contourClr>
                  <a:srgbClr val="969696"/>
                </a:contourClr>
              </a:sp3d>
            </p:spPr>
          </p:pic>
          <p:pic>
            <p:nvPicPr>
              <p:cNvPr id="72" name="Grafik 71">
                <a:extLst>
                  <a:ext uri="{FF2B5EF4-FFF2-40B4-BE49-F238E27FC236}">
                    <a16:creationId xmlns:a16="http://schemas.microsoft.com/office/drawing/2014/main" id="{5BE44778-4958-4050-9292-ECA5C9594FC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email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-4350"/>
              <a:stretch/>
            </p:blipFill>
            <p:spPr>
              <a:xfrm>
                <a:off x="2375766" y="2774981"/>
                <a:ext cx="911340" cy="801089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>
                <a:outerShdw blurRad="152400" dist="12000" dir="900000" sy="98000" kx="110000" ky="200000" algn="tl" rotWithShape="0">
                  <a:srgbClr val="000000">
                    <a:alpha val="30000"/>
                  </a:srgbClr>
                </a:outerShdw>
              </a:effectLst>
              <a:scene3d>
                <a:camera prst="perspectiveRelaxed">
                  <a:rot lat="19800000" lon="1200000" rev="20820000"/>
                </a:camera>
                <a:lightRig rig="threePt" dir="t"/>
              </a:scene3d>
              <a:sp3d contourW="6350" prstMaterial="matte">
                <a:bevelT w="101600" h="101600"/>
                <a:contourClr>
                  <a:srgbClr val="969696"/>
                </a:contourClr>
              </a:sp3d>
            </p:spPr>
          </p:pic>
        </p:grp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CC13BB45-DC3B-4E8D-A337-C4A4D4686BD2}"/>
                </a:ext>
              </a:extLst>
            </p:cNvPr>
            <p:cNvSpPr txBox="1"/>
            <p:nvPr/>
          </p:nvSpPr>
          <p:spPr bwMode="gray">
            <a:xfrm>
              <a:off x="2754832" y="1228759"/>
              <a:ext cx="2104852" cy="66342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2800" dirty="0">
                  <a:solidFill>
                    <a:schemeClr val="bg1"/>
                  </a:solidFill>
                </a:rPr>
                <a:t>Viele Spieldaten</a:t>
              </a:r>
              <a:endParaRPr lang="en-US" sz="2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74" name="Textfeld 73">
            <a:extLst>
              <a:ext uri="{FF2B5EF4-FFF2-40B4-BE49-F238E27FC236}">
                <a16:creationId xmlns:a16="http://schemas.microsoft.com/office/drawing/2014/main" id="{1A4C432F-D1C2-4813-BD2A-6519DA5D23A5}"/>
              </a:ext>
            </a:extLst>
          </p:cNvPr>
          <p:cNvSpPr txBox="1"/>
          <p:nvPr/>
        </p:nvSpPr>
        <p:spPr bwMode="gray">
          <a:xfrm>
            <a:off x="6408379" y="3695964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4000" dirty="0"/>
              <a:t>KI</a:t>
            </a:r>
            <a:endParaRPr lang="en-US" sz="4000" dirty="0" err="1"/>
          </a:p>
        </p:txBody>
      </p:sp>
    </p:spTree>
    <p:extLst>
      <p:ext uri="{BB962C8B-B14F-4D97-AF65-F5344CB8AC3E}">
        <p14:creationId xmlns:p14="http://schemas.microsoft.com/office/powerpoint/2010/main" val="231376271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8" grpId="0" animBg="1"/>
      <p:bldP spid="7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Grafik 49">
            <a:extLst>
              <a:ext uri="{FF2B5EF4-FFF2-40B4-BE49-F238E27FC236}">
                <a16:creationId xmlns:a16="http://schemas.microsoft.com/office/drawing/2014/main" id="{269565B2-E5D5-4A02-AE9D-9F4D9D4F866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43802" y="4613971"/>
            <a:ext cx="1467877" cy="663427"/>
          </a:xfrm>
          <a:prstGeom prst="rect">
            <a:avLst/>
          </a:prstGeom>
        </p:spPr>
      </p:pic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08562BB8-D635-47AE-BDD4-C0977EA5C7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7</a:t>
            </a:fld>
            <a:endParaRPr lang="en-US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BEDE48B8-EA2A-4BC7-A65B-2BE7838E820C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funktioniert maschinelles lernen?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8D6A8582-354B-40E8-9DDD-C4279D8EFD0C}"/>
              </a:ext>
            </a:extLst>
          </p:cNvPr>
          <p:cNvSpPr txBox="1"/>
          <p:nvPr/>
        </p:nvSpPr>
        <p:spPr bwMode="gray">
          <a:xfrm>
            <a:off x="200166" y="2499968"/>
            <a:ext cx="1062179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Daten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373A3B78-4B9D-48E8-9305-11F134E45BB9}"/>
              </a:ext>
            </a:extLst>
          </p:cNvPr>
          <p:cNvSpPr txBox="1"/>
          <p:nvPr/>
        </p:nvSpPr>
        <p:spPr bwMode="gray">
          <a:xfrm>
            <a:off x="3516157" y="2257054"/>
            <a:ext cx="2104852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Daten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F8862A48-2903-47C7-9F05-E9E3332217A3}"/>
              </a:ext>
            </a:extLst>
          </p:cNvPr>
          <p:cNvSpPr/>
          <p:nvPr/>
        </p:nvSpPr>
        <p:spPr bwMode="gray">
          <a:xfrm>
            <a:off x="4645756" y="1918755"/>
            <a:ext cx="2898454" cy="2705319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0" dirty="0" err="1">
              <a:cs typeface="Arial" charset="0"/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45D3CC50-58DB-434F-B560-3A6AEA1F81AC}"/>
              </a:ext>
            </a:extLst>
          </p:cNvPr>
          <p:cNvCxnSpPr>
            <a:cxnSpLocks/>
          </p:cNvCxnSpPr>
          <p:nvPr/>
        </p:nvCxnSpPr>
        <p:spPr>
          <a:xfrm flipV="1">
            <a:off x="995773" y="2983992"/>
            <a:ext cx="3649981" cy="3972"/>
          </a:xfrm>
          <a:prstGeom prst="straightConnector1">
            <a:avLst/>
          </a:prstGeom>
          <a:ln w="212725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0A9AFB1B-74BB-4B9E-AA5F-30FA23084ACB}"/>
              </a:ext>
            </a:extLst>
          </p:cNvPr>
          <p:cNvCxnSpPr>
            <a:cxnSpLocks/>
          </p:cNvCxnSpPr>
          <p:nvPr/>
        </p:nvCxnSpPr>
        <p:spPr>
          <a:xfrm>
            <a:off x="496772" y="4275102"/>
            <a:ext cx="4198439" cy="0"/>
          </a:xfrm>
          <a:prstGeom prst="straightConnector1">
            <a:avLst/>
          </a:prstGeom>
          <a:ln w="212725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55A990D5-EE11-4D1A-B18D-261618A4DD8F}"/>
              </a:ext>
            </a:extLst>
          </p:cNvPr>
          <p:cNvSpPr txBox="1"/>
          <p:nvPr/>
        </p:nvSpPr>
        <p:spPr bwMode="gray">
          <a:xfrm>
            <a:off x="1692593" y="2241896"/>
            <a:ext cx="2104852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Daten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BAF1179D-0D21-4BD8-8C18-9395A16DF96A}"/>
              </a:ext>
            </a:extLst>
          </p:cNvPr>
          <p:cNvSpPr txBox="1"/>
          <p:nvPr/>
        </p:nvSpPr>
        <p:spPr bwMode="gray">
          <a:xfrm>
            <a:off x="7881804" y="3567190"/>
            <a:ext cx="3109929" cy="657736"/>
          </a:xfrm>
          <a:prstGeom prst="rect">
            <a:avLst/>
          </a:prstGeom>
          <a:solidFill>
            <a:schemeClr val="tx2">
              <a:alpha val="83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marL="363538"/>
            <a:r>
              <a:rPr lang="de-DE" dirty="0"/>
              <a:t>Eigener Ablauf</a:t>
            </a:r>
            <a:endParaRPr lang="en-US" dirty="0" err="1"/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49249F12-1DFE-4A74-93F1-ECB4423A326F}"/>
              </a:ext>
            </a:extLst>
          </p:cNvPr>
          <p:cNvCxnSpPr>
            <a:cxnSpLocks/>
          </p:cNvCxnSpPr>
          <p:nvPr/>
        </p:nvCxnSpPr>
        <p:spPr>
          <a:xfrm>
            <a:off x="7754920" y="3449777"/>
            <a:ext cx="2804164" cy="0"/>
          </a:xfrm>
          <a:prstGeom prst="straightConnector1">
            <a:avLst/>
          </a:prstGeom>
          <a:ln w="212725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9121DE94-5692-4F55-8D79-1BEB63B33001}"/>
              </a:ext>
            </a:extLst>
          </p:cNvPr>
          <p:cNvSpPr txBox="1"/>
          <p:nvPr/>
        </p:nvSpPr>
        <p:spPr bwMode="gray">
          <a:xfrm>
            <a:off x="2228153" y="2926660"/>
            <a:ext cx="2104852" cy="84561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Daten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3FAC283D-A4FA-4DD9-A746-9832CAB1ADF6}"/>
              </a:ext>
            </a:extLst>
          </p:cNvPr>
          <p:cNvSpPr txBox="1"/>
          <p:nvPr/>
        </p:nvSpPr>
        <p:spPr bwMode="gray">
          <a:xfrm>
            <a:off x="1140605" y="2999391"/>
            <a:ext cx="2104852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Daten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EDF5F5D3-6551-4A24-9B35-2D72EDAE7D4E}"/>
              </a:ext>
            </a:extLst>
          </p:cNvPr>
          <p:cNvSpPr txBox="1"/>
          <p:nvPr/>
        </p:nvSpPr>
        <p:spPr bwMode="gray">
          <a:xfrm>
            <a:off x="989470" y="2044452"/>
            <a:ext cx="2104852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Daten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1CD0295B-9DAF-4FC6-BEC8-120D15D8E993}"/>
              </a:ext>
            </a:extLst>
          </p:cNvPr>
          <p:cNvSpPr txBox="1"/>
          <p:nvPr/>
        </p:nvSpPr>
        <p:spPr bwMode="gray">
          <a:xfrm>
            <a:off x="2475378" y="1918756"/>
            <a:ext cx="2104852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Daten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35DEABB8-E7AA-4E08-8855-549D597C4F83}"/>
              </a:ext>
            </a:extLst>
          </p:cNvPr>
          <p:cNvSpPr txBox="1"/>
          <p:nvPr/>
        </p:nvSpPr>
        <p:spPr bwMode="gray">
          <a:xfrm>
            <a:off x="416347" y="4384562"/>
            <a:ext cx="2104852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Neuronales Netz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FCC6BC19-DFFD-4B18-B7F9-B2CE35ADCC99}"/>
              </a:ext>
            </a:extLst>
          </p:cNvPr>
          <p:cNvSpPr txBox="1"/>
          <p:nvPr/>
        </p:nvSpPr>
        <p:spPr bwMode="gray">
          <a:xfrm>
            <a:off x="2786592" y="3254294"/>
            <a:ext cx="2104852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Daten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630F0DF8-D15F-4F9D-B6E8-94E67B35DDBC}"/>
              </a:ext>
            </a:extLst>
          </p:cNvPr>
          <p:cNvSpPr txBox="1"/>
          <p:nvPr/>
        </p:nvSpPr>
        <p:spPr bwMode="gray">
          <a:xfrm>
            <a:off x="454789" y="3148538"/>
            <a:ext cx="1062179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Daten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73B0479C-87DB-4431-B063-72DFDBCB5648}"/>
              </a:ext>
            </a:extLst>
          </p:cNvPr>
          <p:cNvSpPr txBox="1"/>
          <p:nvPr/>
        </p:nvSpPr>
        <p:spPr bwMode="gray">
          <a:xfrm>
            <a:off x="284045" y="1736537"/>
            <a:ext cx="1062179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Daten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263EFDBC-F261-40BB-A9A0-7D60FBF54675}"/>
              </a:ext>
            </a:extLst>
          </p:cNvPr>
          <p:cNvSpPr txBox="1"/>
          <p:nvPr/>
        </p:nvSpPr>
        <p:spPr bwMode="gray">
          <a:xfrm>
            <a:off x="2596930" y="2296912"/>
            <a:ext cx="1062179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Trainings-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EE539772-E998-4949-B6B0-D3E0292E39C9}"/>
              </a:ext>
            </a:extLst>
          </p:cNvPr>
          <p:cNvSpPr txBox="1"/>
          <p:nvPr/>
        </p:nvSpPr>
        <p:spPr bwMode="gray">
          <a:xfrm>
            <a:off x="1403619" y="1724593"/>
            <a:ext cx="1062179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Trainings-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E330EC14-BD58-4AAB-8201-51967D5E51F6}"/>
              </a:ext>
            </a:extLst>
          </p:cNvPr>
          <p:cNvSpPr txBox="1"/>
          <p:nvPr/>
        </p:nvSpPr>
        <p:spPr bwMode="gray">
          <a:xfrm>
            <a:off x="653366" y="2367850"/>
            <a:ext cx="1062179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Trainings-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5DA58A6D-8EF7-41F9-9A53-5E39EF88F38A}"/>
              </a:ext>
            </a:extLst>
          </p:cNvPr>
          <p:cNvSpPr txBox="1"/>
          <p:nvPr/>
        </p:nvSpPr>
        <p:spPr bwMode="gray">
          <a:xfrm>
            <a:off x="1809346" y="3239703"/>
            <a:ext cx="1062179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Trainings-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45891292-2D93-482B-A5BC-7654D8A1D8E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2798" y="2362825"/>
            <a:ext cx="1722972" cy="1783954"/>
          </a:xfrm>
          <a:prstGeom prst="rect">
            <a:avLst/>
          </a:prstGeom>
        </p:spPr>
      </p:pic>
      <p:pic>
        <p:nvPicPr>
          <p:cNvPr id="30" name="Picture 2" descr="Bildergebnis fÃ¼r Computer symbol">
            <a:extLst>
              <a:ext uri="{FF2B5EF4-FFF2-40B4-BE49-F238E27FC236}">
                <a16:creationId xmlns:a16="http://schemas.microsoft.com/office/drawing/2014/main" id="{77305AFF-8633-4F60-BDE9-5148D1C4C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02934" y="3169038"/>
            <a:ext cx="662061" cy="435806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341820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  <p:bldP spid="35" grpId="0"/>
      <p:bldP spid="21" grpId="0" animBg="1"/>
      <p:bldP spid="26" grpId="0"/>
      <p:bldP spid="28" grpId="0" animBg="1"/>
      <p:bldP spid="34" grpId="0"/>
      <p:bldP spid="36" grpId="0"/>
      <p:bldP spid="37" grpId="0"/>
      <p:bldP spid="38" grpId="0"/>
      <p:bldP spid="39" grpId="0"/>
      <p:bldP spid="41" grpId="0"/>
      <p:bldP spid="46" grpId="0"/>
      <p:bldP spid="47" grpId="0"/>
      <p:bldP spid="42" grpId="0"/>
      <p:bldP spid="43" grpId="0"/>
      <p:bldP spid="45" grpId="0"/>
      <p:bldP spid="4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1F09AA2-BD95-4237-8047-9C07F536BB6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3866" y="3150550"/>
            <a:ext cx="2526588" cy="270034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CA3879A3-89CF-4565-BC7F-395415A92007}"/>
              </a:ext>
            </a:extLst>
          </p:cNvPr>
          <p:cNvSpPr/>
          <p:nvPr/>
        </p:nvSpPr>
        <p:spPr>
          <a:xfrm>
            <a:off x="4516714" y="6018349"/>
            <a:ext cx="288893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Roboto"/>
              </a:rPr>
              <a:t>Quelle: </a:t>
            </a:r>
            <a:r>
              <a:rPr lang="en-US" sz="800" dirty="0">
                <a:solidFill>
                  <a:schemeClr val="bg1"/>
                </a:solidFill>
                <a:latin typeface="Roboto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youtube.com/watch?v=w3f-WyDqOUw</a:t>
            </a:r>
            <a:r>
              <a:rPr lang="en-US" sz="800" dirty="0">
                <a:solidFill>
                  <a:schemeClr val="bg1"/>
                </a:solidFill>
                <a:latin typeface="Roboto"/>
              </a:rPr>
              <a:t> </a:t>
            </a:r>
          </a:p>
        </p:txBody>
      </p:sp>
      <p:sp>
        <p:nvSpPr>
          <p:cNvPr id="10" name="Titel 3">
            <a:extLst>
              <a:ext uri="{FF2B5EF4-FFF2-40B4-BE49-F238E27FC236}">
                <a16:creationId xmlns:a16="http://schemas.microsoft.com/office/drawing/2014/main" id="{02620982-20F4-4258-839B-58A6BBB32747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o liegt der unterschied?</a:t>
            </a:r>
            <a:r>
              <a:rPr lang="de-DE" sz="2400" dirty="0">
                <a:cs typeface="TeleGrotesk Next Ultra" pitchFamily="2" charset="0"/>
              </a:rPr>
              <a:t>	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92AC885-D2B9-4C5B-A084-421A8257809A}"/>
              </a:ext>
            </a:extLst>
          </p:cNvPr>
          <p:cNvSpPr/>
          <p:nvPr/>
        </p:nvSpPr>
        <p:spPr>
          <a:xfrm>
            <a:off x="9968994" y="6018349"/>
            <a:ext cx="191430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Roboto"/>
              </a:rPr>
              <a:t>Quelle </a:t>
            </a:r>
            <a:r>
              <a:rPr lang="en-US" sz="800" dirty="0">
                <a:solidFill>
                  <a:schemeClr val="bg1"/>
                </a:solidFill>
                <a:latin typeface="Roboto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youtu.be/kVmp0uGtShk</a:t>
            </a:r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3" name="Onlinemedien 12">
            <a:hlinkClick r:id="" action="ppaction://media"/>
            <a:extLst>
              <a:ext uri="{FF2B5EF4-FFF2-40B4-BE49-F238E27FC236}">
                <a16:creationId xmlns:a16="http://schemas.microsoft.com/office/drawing/2014/main" id="{D1D7F244-E52F-4C1A-811F-A578FC702D07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8"/>
          <a:stretch>
            <a:fillRect/>
          </a:stretch>
        </p:blipFill>
        <p:spPr>
          <a:xfrm>
            <a:off x="3033573" y="2903373"/>
            <a:ext cx="4253810" cy="315131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5F0E148-716A-4B4E-B9E5-F2A552A013F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24514" y="3283160"/>
            <a:ext cx="3132455" cy="2231042"/>
          </a:xfrm>
          <a:prstGeom prst="rect">
            <a:avLst/>
          </a:prstGeom>
        </p:spPr>
      </p:pic>
      <p:pic>
        <p:nvPicPr>
          <p:cNvPr id="14" name="Onlinemedien 13">
            <a:hlinkClick r:id="" action="ppaction://media"/>
            <a:extLst>
              <a:ext uri="{FF2B5EF4-FFF2-40B4-BE49-F238E27FC236}">
                <a16:creationId xmlns:a16="http://schemas.microsoft.com/office/drawing/2014/main" id="{C552CCEE-459C-4B0F-9DA4-403DA8C3A1B5}"/>
              </a:ext>
            </a:extLst>
          </p:cNvPr>
          <p:cNvPicPr>
            <a:picLocks noRot="1" noChangeAspect="1"/>
          </p:cNvPicPr>
          <p:nvPr>
            <a:videoFile r:link="rId2"/>
          </p:nvPr>
        </p:nvPicPr>
        <p:blipFill>
          <a:blip r:embed="rId8"/>
          <a:stretch>
            <a:fillRect/>
          </a:stretch>
        </p:blipFill>
        <p:spPr>
          <a:xfrm>
            <a:off x="7368643" y="2892720"/>
            <a:ext cx="4560347" cy="315131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6AD6F465-E24C-4F5B-953D-05A70C83CA2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01434" y="3143135"/>
            <a:ext cx="3974437" cy="2309751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E4BCEC4D-F129-440C-82EC-10AD95D7669A}"/>
              </a:ext>
            </a:extLst>
          </p:cNvPr>
          <p:cNvSpPr txBox="1"/>
          <p:nvPr/>
        </p:nvSpPr>
        <p:spPr bwMode="gray">
          <a:xfrm>
            <a:off x="263010" y="1059389"/>
            <a:ext cx="2655258" cy="1079915"/>
          </a:xfrm>
          <a:prstGeom prst="rect">
            <a:avLst/>
          </a:prstGeom>
          <a:solidFill>
            <a:schemeClr val="bg1">
              <a:alpha val="42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Lösen durch probieren 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vom Menschen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(20 - 26 Schritte)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CDDEB7F-8674-4907-B796-25BE783718B0}"/>
              </a:ext>
            </a:extLst>
          </p:cNvPr>
          <p:cNvSpPr txBox="1"/>
          <p:nvPr/>
        </p:nvSpPr>
        <p:spPr bwMode="gray">
          <a:xfrm>
            <a:off x="2999528" y="1057179"/>
            <a:ext cx="4287856" cy="1079915"/>
          </a:xfrm>
          <a:prstGeom prst="rect">
            <a:avLst/>
          </a:prstGeom>
          <a:solidFill>
            <a:schemeClr val="bg1">
              <a:alpha val="42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Lösen durch ein fertiges Programm 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auf dem Computer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(60 Schritte)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B18201C-18B5-44F3-A791-375AEAF2D7D5}"/>
              </a:ext>
            </a:extLst>
          </p:cNvPr>
          <p:cNvSpPr txBox="1"/>
          <p:nvPr/>
        </p:nvSpPr>
        <p:spPr bwMode="gray">
          <a:xfrm>
            <a:off x="7368643" y="1054419"/>
            <a:ext cx="4602438" cy="1079915"/>
          </a:xfrm>
          <a:prstGeom prst="rect">
            <a:avLst/>
          </a:prstGeom>
          <a:solidFill>
            <a:schemeClr val="bg1">
              <a:alpha val="42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sz="2000" dirty="0">
                <a:solidFill>
                  <a:schemeClr val="bg1"/>
                </a:solidFill>
              </a:rPr>
              <a:t>Lösen durch Trainieren 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des Computers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(30 Schritte)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715BC537-EAEC-4055-B114-75E18A191BA1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8857" y="1377173"/>
            <a:ext cx="753514" cy="105313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CECACC1-8CB9-44F2-88E1-56BAC8DB260E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email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9413" y="1617944"/>
            <a:ext cx="1767553" cy="771562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3F7B20FA-1481-44B4-8B16-AA2A6B3AAAB7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69742" y="1393201"/>
            <a:ext cx="753514" cy="1082339"/>
          </a:xfrm>
          <a:prstGeom prst="rect">
            <a:avLst/>
          </a:prstGeom>
        </p:spPr>
      </p:pic>
      <p:sp>
        <p:nvSpPr>
          <p:cNvPr id="19" name="Foliennummernplatzhalter 1">
            <a:extLst>
              <a:ext uri="{FF2B5EF4-FFF2-40B4-BE49-F238E27FC236}">
                <a16:creationId xmlns:a16="http://schemas.microsoft.com/office/drawing/2014/main" id="{24BF6CF5-EE1B-46C5-804E-CA7D25E1434C}"/>
              </a:ext>
            </a:extLst>
          </p:cNvPr>
          <p:cNvSpPr txBox="1">
            <a:spLocks/>
          </p:cNvSpPr>
          <p:nvPr/>
        </p:nvSpPr>
        <p:spPr bwMode="gray">
          <a:xfrm>
            <a:off x="8121445" y="6172034"/>
            <a:ext cx="3725521" cy="40580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609705" rtl="0" eaLnBrk="1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 kern="1200">
                <a:solidFill>
                  <a:schemeClr val="bg1"/>
                </a:solidFill>
                <a:latin typeface="Tele-GroteskNor" pitchFamily="2" charset="0"/>
                <a:ea typeface="+mn-ea"/>
                <a:cs typeface="Arial Unicode MS" pitchFamily="34" charset="-128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400486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92CE00F7-17B1-4CF4-A9E5-F53621537E2C}"/>
              </a:ext>
            </a:extLst>
          </p:cNvPr>
          <p:cNvSpPr/>
          <p:nvPr/>
        </p:nvSpPr>
        <p:spPr bwMode="gray">
          <a:xfrm>
            <a:off x="7423485" y="1755609"/>
            <a:ext cx="3912582" cy="3953793"/>
          </a:xfrm>
          <a:prstGeom prst="rect">
            <a:avLst/>
          </a:prstGeom>
          <a:solidFill>
            <a:schemeClr val="bg1">
              <a:alpha val="28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A207557B-447B-42EA-AF1E-747F4A0D1681}"/>
              </a:ext>
            </a:extLst>
          </p:cNvPr>
          <p:cNvSpPr/>
          <p:nvPr/>
        </p:nvSpPr>
        <p:spPr bwMode="gray">
          <a:xfrm>
            <a:off x="324000" y="1755609"/>
            <a:ext cx="2441553" cy="3953793"/>
          </a:xfrm>
          <a:prstGeom prst="rect">
            <a:avLst/>
          </a:prstGeom>
          <a:solidFill>
            <a:schemeClr val="bg1">
              <a:alpha val="28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FCFDEEE-49D5-468B-A274-1B7B586D5AFB}"/>
              </a:ext>
            </a:extLst>
          </p:cNvPr>
          <p:cNvSpPr/>
          <p:nvPr/>
        </p:nvSpPr>
        <p:spPr bwMode="gray">
          <a:xfrm>
            <a:off x="3078163" y="1755609"/>
            <a:ext cx="3900153" cy="3953793"/>
          </a:xfrm>
          <a:prstGeom prst="rect">
            <a:avLst/>
          </a:prstGeom>
          <a:solidFill>
            <a:schemeClr val="bg1">
              <a:alpha val="28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9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lernen wir nun unseren </a:t>
            </a:r>
            <a:r>
              <a:rPr lang="de-DE" sz="4000" dirty="0" err="1">
                <a:solidFill>
                  <a:schemeClr val="bg1"/>
                </a:solidFill>
              </a:rPr>
              <a:t>calliope</a:t>
            </a:r>
            <a:r>
              <a:rPr lang="de-DE" sz="4000" dirty="0">
                <a:solidFill>
                  <a:schemeClr val="bg1"/>
                </a:solidFill>
              </a:rPr>
              <a:t> an?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04C9CBCF-F11B-4C2B-BFCF-B4043D4967D4}"/>
              </a:ext>
            </a:extLst>
          </p:cNvPr>
          <p:cNvSpPr/>
          <p:nvPr/>
        </p:nvSpPr>
        <p:spPr bwMode="gray">
          <a:xfrm>
            <a:off x="4699452" y="3422589"/>
            <a:ext cx="1532846" cy="1481884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0" dirty="0" err="1">
              <a:cs typeface="Arial" charset="0"/>
            </a:endParaRP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BB1A1B8A-40E8-4B78-8C77-029A5E412801}"/>
              </a:ext>
            </a:extLst>
          </p:cNvPr>
          <p:cNvCxnSpPr>
            <a:cxnSpLocks/>
          </p:cNvCxnSpPr>
          <p:nvPr/>
        </p:nvCxnSpPr>
        <p:spPr>
          <a:xfrm>
            <a:off x="3143820" y="4732808"/>
            <a:ext cx="1765012" cy="0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9" name="Picture 2" descr="https://calliope.cc/media/pages/community/1617732951-1558479413/community.png">
            <a:extLst>
              <a:ext uri="{FF2B5EF4-FFF2-40B4-BE49-F238E27FC236}">
                <a16:creationId xmlns:a16="http://schemas.microsoft.com/office/drawing/2014/main" id="{7C51A699-08FF-4C2F-867B-010C612E86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09388" y="3641414"/>
            <a:ext cx="1147970" cy="109139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D6527A43-0F5D-41DE-AC4A-620FB82EA1CD}"/>
              </a:ext>
            </a:extLst>
          </p:cNvPr>
          <p:cNvSpPr txBox="1"/>
          <p:nvPr/>
        </p:nvSpPr>
        <p:spPr bwMode="gray">
          <a:xfrm>
            <a:off x="6515372" y="4098479"/>
            <a:ext cx="1481481" cy="422464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b="1" dirty="0">
                <a:solidFill>
                  <a:schemeClr val="bg1"/>
                </a:solidFill>
              </a:rPr>
              <a:t>KI - Programm</a:t>
            </a: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B4EF9981-27D4-4B90-922E-B3FA6B7CD965}"/>
              </a:ext>
            </a:extLst>
          </p:cNvPr>
          <p:cNvSpPr txBox="1"/>
          <p:nvPr/>
        </p:nvSpPr>
        <p:spPr bwMode="gray">
          <a:xfrm>
            <a:off x="3143820" y="4279214"/>
            <a:ext cx="1113150" cy="64766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Neuronales Netz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DAF723C3-6113-4A4F-84B7-7852C595BFC2}"/>
              </a:ext>
            </a:extLst>
          </p:cNvPr>
          <p:cNvSpPr/>
          <p:nvPr/>
        </p:nvSpPr>
        <p:spPr bwMode="gray">
          <a:xfrm>
            <a:off x="8526905" y="3470162"/>
            <a:ext cx="1532846" cy="1481884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0" dirty="0" err="1">
              <a:cs typeface="Arial" charset="0"/>
            </a:endParaRPr>
          </a:p>
        </p:txBody>
      </p: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91C4D0E-71DF-4BB5-89E4-3151BADAC4E5}"/>
              </a:ext>
            </a:extLst>
          </p:cNvPr>
          <p:cNvCxnSpPr>
            <a:cxnSpLocks/>
          </p:cNvCxnSpPr>
          <p:nvPr/>
        </p:nvCxnSpPr>
        <p:spPr>
          <a:xfrm>
            <a:off x="10171186" y="4355253"/>
            <a:ext cx="721789" cy="0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1" name="Picture 2" descr="https://calliope.cc/media/pages/community/1617732951-1558479413/community.png">
            <a:extLst>
              <a:ext uri="{FF2B5EF4-FFF2-40B4-BE49-F238E27FC236}">
                <a16:creationId xmlns:a16="http://schemas.microsoft.com/office/drawing/2014/main" id="{DC8FA4F7-8AB8-4E7A-86D2-55D81828B6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36841" y="3688987"/>
            <a:ext cx="1147970" cy="109139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FEB85E5B-FFAD-493F-918B-275FAFC5B6B3}"/>
              </a:ext>
            </a:extLst>
          </p:cNvPr>
          <p:cNvCxnSpPr>
            <a:cxnSpLocks/>
          </p:cNvCxnSpPr>
          <p:nvPr/>
        </p:nvCxnSpPr>
        <p:spPr>
          <a:xfrm>
            <a:off x="7195758" y="3775344"/>
            <a:ext cx="1331147" cy="0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F805EB00-4674-473A-BB9A-CC082C731FBD}"/>
              </a:ext>
            </a:extLst>
          </p:cNvPr>
          <p:cNvSpPr txBox="1"/>
          <p:nvPr/>
        </p:nvSpPr>
        <p:spPr bwMode="gray">
          <a:xfrm>
            <a:off x="7605208" y="3266644"/>
            <a:ext cx="1113150" cy="64586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Reale Daten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300987C5-F367-42AD-B693-57A75AE81BC0}"/>
              </a:ext>
            </a:extLst>
          </p:cNvPr>
          <p:cNvCxnSpPr>
            <a:cxnSpLocks/>
          </p:cNvCxnSpPr>
          <p:nvPr/>
        </p:nvCxnSpPr>
        <p:spPr>
          <a:xfrm>
            <a:off x="6292516" y="4510044"/>
            <a:ext cx="2016947" cy="7270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73CF42F7-1154-4A80-A3BC-0229AD421A95}"/>
              </a:ext>
            </a:extLst>
          </p:cNvPr>
          <p:cNvSpPr txBox="1"/>
          <p:nvPr/>
        </p:nvSpPr>
        <p:spPr bwMode="gray">
          <a:xfrm>
            <a:off x="10188448" y="3422590"/>
            <a:ext cx="988450" cy="722042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b="1" dirty="0">
                <a:solidFill>
                  <a:schemeClr val="bg1"/>
                </a:solidFill>
              </a:rPr>
              <a:t>Test-</a:t>
            </a:r>
            <a:br>
              <a:rPr lang="de-DE" sz="2000" b="1" dirty="0">
                <a:solidFill>
                  <a:schemeClr val="bg1"/>
                </a:solidFill>
              </a:rPr>
            </a:br>
            <a:r>
              <a:rPr lang="de-DE" sz="2000" b="1" dirty="0">
                <a:solidFill>
                  <a:schemeClr val="bg1"/>
                </a:solidFill>
              </a:rPr>
              <a:t>Ergebnis</a:t>
            </a:r>
            <a:endParaRPr lang="en-US" sz="2000" b="1" dirty="0" err="1">
              <a:solidFill>
                <a:schemeClr val="bg1"/>
              </a:solidFill>
            </a:endParaRPr>
          </a:p>
        </p:txBody>
      </p:sp>
      <p:pic>
        <p:nvPicPr>
          <p:cNvPr id="55" name="Picture 2" descr="https://calliope.cc/media/pages/community/1617732951-1558479413/community.png">
            <a:extLst>
              <a:ext uri="{FF2B5EF4-FFF2-40B4-BE49-F238E27FC236}">
                <a16:creationId xmlns:a16="http://schemas.microsoft.com/office/drawing/2014/main" id="{11D4D643-BB77-4D84-9461-E85D6A5955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90032" y="3486826"/>
            <a:ext cx="1147970" cy="109139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 descr="https://calliope.cc/media/pages/community/1617732951-1558479413/community.png">
            <a:extLst>
              <a:ext uri="{FF2B5EF4-FFF2-40B4-BE49-F238E27FC236}">
                <a16:creationId xmlns:a16="http://schemas.microsoft.com/office/drawing/2014/main" id="{17CF3929-B700-401C-9A36-DA161BFAA0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44776" y="4444011"/>
            <a:ext cx="1147970" cy="109139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 descr="https://calliope.cc/media/pages/community/1617732951-1558479413/community.png">
            <a:extLst>
              <a:ext uri="{FF2B5EF4-FFF2-40B4-BE49-F238E27FC236}">
                <a16:creationId xmlns:a16="http://schemas.microsoft.com/office/drawing/2014/main" id="{880EB631-A300-4AF8-8FBA-0D534BC041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75452" y="1998062"/>
            <a:ext cx="1147970" cy="109139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https://calliope.cc/media/pages/community/1617732951-1558479413/community.png">
            <a:extLst>
              <a:ext uri="{FF2B5EF4-FFF2-40B4-BE49-F238E27FC236}">
                <a16:creationId xmlns:a16="http://schemas.microsoft.com/office/drawing/2014/main" id="{98EA4ACF-ACE4-4AF5-85BA-1835CB7B1E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7584" y="2395432"/>
            <a:ext cx="1147970" cy="109139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373C5DFA-8CFC-4DE4-906F-CA9F157B0AAA}"/>
              </a:ext>
            </a:extLst>
          </p:cNvPr>
          <p:cNvGrpSpPr/>
          <p:nvPr/>
        </p:nvGrpSpPr>
        <p:grpSpPr>
          <a:xfrm>
            <a:off x="1754891" y="3469922"/>
            <a:ext cx="2947831" cy="645865"/>
            <a:chOff x="1754891" y="3205228"/>
            <a:chExt cx="2947831" cy="645865"/>
          </a:xfrm>
        </p:grpSpPr>
        <p:cxnSp>
          <p:nvCxnSpPr>
            <p:cNvPr id="24" name="Gerade Verbindung mit Pfeil 23">
              <a:extLst>
                <a:ext uri="{FF2B5EF4-FFF2-40B4-BE49-F238E27FC236}">
                  <a16:creationId xmlns:a16="http://schemas.microsoft.com/office/drawing/2014/main" id="{32570A5F-9D65-4943-A0E1-AECA68689251}"/>
                </a:ext>
              </a:extLst>
            </p:cNvPr>
            <p:cNvCxnSpPr>
              <a:cxnSpLocks/>
            </p:cNvCxnSpPr>
            <p:nvPr/>
          </p:nvCxnSpPr>
          <p:spPr>
            <a:xfrm>
              <a:off x="1754891" y="3420776"/>
              <a:ext cx="2947831" cy="4629"/>
            </a:xfrm>
            <a:prstGeom prst="straightConnector1">
              <a:avLst/>
            </a:prstGeom>
            <a:ln w="307975">
              <a:solidFill>
                <a:schemeClr val="tx2"/>
              </a:solidFill>
              <a:miter lim="800000"/>
              <a:headEnd type="none" w="med" len="med"/>
              <a:tailEnd type="triangle"/>
            </a:ln>
            <a:effectLst>
              <a:outerShdw blurRad="50800" dist="50800" dir="5400000" algn="ctr" rotWithShape="0">
                <a:schemeClr val="bg1"/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6BC4D94D-0B74-4723-BDFB-B60B06ECF34F}"/>
                </a:ext>
              </a:extLst>
            </p:cNvPr>
            <p:cNvSpPr txBox="1"/>
            <p:nvPr/>
          </p:nvSpPr>
          <p:spPr bwMode="gray">
            <a:xfrm>
              <a:off x="2149437" y="3205228"/>
              <a:ext cx="1697064" cy="64586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2000" b="1" dirty="0">
                  <a:solidFill>
                    <a:schemeClr val="bg1"/>
                  </a:solidFill>
                </a:rPr>
                <a:t>Trainings - Daten</a:t>
              </a:r>
              <a:endParaRPr lang="en-US" sz="2000" b="1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8" name="Rechteck 17">
            <a:extLst>
              <a:ext uri="{FF2B5EF4-FFF2-40B4-BE49-F238E27FC236}">
                <a16:creationId xmlns:a16="http://schemas.microsoft.com/office/drawing/2014/main" id="{931AD5E4-4C00-419D-9E19-D6FFD95E2C68}"/>
              </a:ext>
            </a:extLst>
          </p:cNvPr>
          <p:cNvSpPr/>
          <p:nvPr/>
        </p:nvSpPr>
        <p:spPr bwMode="gray">
          <a:xfrm>
            <a:off x="323849" y="1316064"/>
            <a:ext cx="2441703" cy="406812"/>
          </a:xfrm>
          <a:prstGeom prst="rect">
            <a:avLst/>
          </a:prstGeom>
          <a:solidFill>
            <a:schemeClr val="bg1">
              <a:alpha val="42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solidFill>
                  <a:schemeClr val="bg1"/>
                </a:solidFill>
                <a:cs typeface="Arial" charset="0"/>
              </a:rPr>
              <a:t>Lange Spielen</a:t>
            </a:r>
            <a:endParaRPr lang="en-US" sz="1800" b="1" dirty="0" err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97DF2DA1-873C-46F4-8C12-730C44E92EDC}"/>
              </a:ext>
            </a:extLst>
          </p:cNvPr>
          <p:cNvSpPr/>
          <p:nvPr/>
        </p:nvSpPr>
        <p:spPr bwMode="gray">
          <a:xfrm>
            <a:off x="3065734" y="1313374"/>
            <a:ext cx="3912582" cy="406812"/>
          </a:xfrm>
          <a:prstGeom prst="rect">
            <a:avLst/>
          </a:prstGeom>
          <a:solidFill>
            <a:schemeClr val="bg1">
              <a:alpha val="42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solidFill>
                  <a:schemeClr val="bg1"/>
                </a:solidFill>
                <a:cs typeface="Arial" charset="0"/>
              </a:rPr>
              <a:t>KI – Auto anlernen und Testen</a:t>
            </a:r>
            <a:endParaRPr lang="en-US" sz="1800" b="1" dirty="0" err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422575D-9D09-4939-B64A-9FF6C449DF09}"/>
              </a:ext>
            </a:extLst>
          </p:cNvPr>
          <p:cNvSpPr/>
          <p:nvPr/>
        </p:nvSpPr>
        <p:spPr bwMode="gray">
          <a:xfrm>
            <a:off x="7423485" y="1298476"/>
            <a:ext cx="3912582" cy="406812"/>
          </a:xfrm>
          <a:prstGeom prst="rect">
            <a:avLst/>
          </a:prstGeom>
          <a:solidFill>
            <a:schemeClr val="bg1">
              <a:alpha val="42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solidFill>
                  <a:schemeClr val="bg1"/>
                </a:solidFill>
                <a:cs typeface="Arial" charset="0"/>
              </a:rPr>
              <a:t>KI Steuert selber</a:t>
            </a:r>
            <a:endParaRPr lang="en-US" sz="1800" b="1" dirty="0" err="1">
              <a:solidFill>
                <a:schemeClr val="bg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2822355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15234" y="3927230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Unser Gehirn</a:t>
            </a:r>
          </a:p>
          <a:p>
            <a:br>
              <a:rPr lang="de-DE" sz="4000" dirty="0">
                <a:solidFill>
                  <a:schemeClr val="bg1"/>
                </a:solidFill>
              </a:rPr>
            </a:br>
            <a:r>
              <a:rPr lang="de-DE" sz="4000" dirty="0">
                <a:solidFill>
                  <a:schemeClr val="bg1"/>
                </a:solidFill>
              </a:rPr>
              <a:t>	</a:t>
            </a:r>
            <a:r>
              <a:rPr lang="de-DE" sz="2400" dirty="0">
                <a:cs typeface="TeleGrotesk Next Ultra" pitchFamily="2" charset="0"/>
              </a:rPr>
              <a:t>				</a:t>
            </a:r>
            <a:endParaRPr lang="de-DE" sz="3600" dirty="0">
              <a:cs typeface="TeleGrotesk Next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939424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086813" y="6161111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0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698034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elche </a:t>
            </a:r>
            <a:r>
              <a:rPr lang="de-DE" sz="4000" dirty="0" err="1">
                <a:solidFill>
                  <a:schemeClr val="bg1"/>
                </a:solidFill>
              </a:rPr>
              <a:t>spielsituationen</a:t>
            </a:r>
            <a:r>
              <a:rPr lang="de-DE" sz="4000" dirty="0">
                <a:solidFill>
                  <a:schemeClr val="bg1"/>
                </a:solidFill>
              </a:rPr>
              <a:t> gibt es?</a:t>
            </a:r>
            <a:endParaRPr lang="de-DE" sz="3600" dirty="0">
              <a:cs typeface="TeleGrotesk Next Ultra" pitchFamily="2" charset="0"/>
            </a:endParaRP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C9724CCE-2B11-44DC-903B-3BF53DB811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556739"/>
              </p:ext>
            </p:extLst>
          </p:nvPr>
        </p:nvGraphicFramePr>
        <p:xfrm>
          <a:off x="4284850" y="3828821"/>
          <a:ext cx="4157475" cy="1027361"/>
        </p:xfrm>
        <a:graphic>
          <a:graphicData uri="http://schemas.openxmlformats.org/drawingml/2006/table">
            <a:tbl>
              <a:tblPr/>
              <a:tblGrid>
                <a:gridCol w="593925">
                  <a:extLst>
                    <a:ext uri="{9D8B030D-6E8A-4147-A177-3AD203B41FA5}">
                      <a16:colId xmlns:a16="http://schemas.microsoft.com/office/drawing/2014/main" val="3254744851"/>
                    </a:ext>
                  </a:extLst>
                </a:gridCol>
                <a:gridCol w="593925">
                  <a:extLst>
                    <a:ext uri="{9D8B030D-6E8A-4147-A177-3AD203B41FA5}">
                      <a16:colId xmlns:a16="http://schemas.microsoft.com/office/drawing/2014/main" val="3558986444"/>
                    </a:ext>
                  </a:extLst>
                </a:gridCol>
                <a:gridCol w="593925">
                  <a:extLst>
                    <a:ext uri="{9D8B030D-6E8A-4147-A177-3AD203B41FA5}">
                      <a16:colId xmlns:a16="http://schemas.microsoft.com/office/drawing/2014/main" val="2741112277"/>
                    </a:ext>
                  </a:extLst>
                </a:gridCol>
                <a:gridCol w="593925">
                  <a:extLst>
                    <a:ext uri="{9D8B030D-6E8A-4147-A177-3AD203B41FA5}">
                      <a16:colId xmlns:a16="http://schemas.microsoft.com/office/drawing/2014/main" val="2934960987"/>
                    </a:ext>
                  </a:extLst>
                </a:gridCol>
                <a:gridCol w="593925">
                  <a:extLst>
                    <a:ext uri="{9D8B030D-6E8A-4147-A177-3AD203B41FA5}">
                      <a16:colId xmlns:a16="http://schemas.microsoft.com/office/drawing/2014/main" val="913456742"/>
                    </a:ext>
                  </a:extLst>
                </a:gridCol>
                <a:gridCol w="593925">
                  <a:extLst>
                    <a:ext uri="{9D8B030D-6E8A-4147-A177-3AD203B41FA5}">
                      <a16:colId xmlns:a16="http://schemas.microsoft.com/office/drawing/2014/main" val="3236016132"/>
                    </a:ext>
                  </a:extLst>
                </a:gridCol>
                <a:gridCol w="593925">
                  <a:extLst>
                    <a:ext uri="{9D8B030D-6E8A-4147-A177-3AD203B41FA5}">
                      <a16:colId xmlns:a16="http://schemas.microsoft.com/office/drawing/2014/main" val="2704036283"/>
                    </a:ext>
                  </a:extLst>
                </a:gridCol>
              </a:tblGrid>
              <a:tr h="683918">
                <a:tc>
                  <a:txBody>
                    <a:bodyPr/>
                    <a:lstStyle/>
                    <a:p>
                      <a:pPr marL="0" algn="ctr" defTabSz="483733" rtl="0" eaLnBrk="1" fontAlgn="b" latinLnBrk="0" hangingPunct="1"/>
                      <a:r>
                        <a:rPr lang="en-US" sz="11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igenes</a:t>
                      </a: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Auto</a:t>
                      </a:r>
                    </a:p>
                  </a:txBody>
                  <a:tcPr marL="2391" marR="2391" marT="2391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8373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3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4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5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aster A/B/nicht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209501"/>
                  </a:ext>
                </a:extLst>
              </a:tr>
              <a:tr h="34344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onsolas" panose="020B0609020204030204" pitchFamily="49" charset="0"/>
                        </a:rPr>
                        <a:t>3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marL="2391" marR="2391" marT="239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ichts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9162612"/>
                  </a:ext>
                </a:extLst>
              </a:tr>
            </a:tbl>
          </a:graphicData>
        </a:graphic>
      </p:graphicFrame>
      <p:graphicFrame>
        <p:nvGraphicFramePr>
          <p:cNvPr id="65" name="Tabelle 64">
            <a:extLst>
              <a:ext uri="{FF2B5EF4-FFF2-40B4-BE49-F238E27FC236}">
                <a16:creationId xmlns:a16="http://schemas.microsoft.com/office/drawing/2014/main" id="{A51B463F-1093-43EB-A8E8-E6489858A5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0447216"/>
              </p:ext>
            </p:extLst>
          </p:nvPr>
        </p:nvGraphicFramePr>
        <p:xfrm>
          <a:off x="906940" y="1275947"/>
          <a:ext cx="4086250" cy="1027361"/>
        </p:xfrm>
        <a:graphic>
          <a:graphicData uri="http://schemas.openxmlformats.org/drawingml/2006/table">
            <a:tbl>
              <a:tblPr/>
              <a:tblGrid>
                <a:gridCol w="583750">
                  <a:extLst>
                    <a:ext uri="{9D8B030D-6E8A-4147-A177-3AD203B41FA5}">
                      <a16:colId xmlns:a16="http://schemas.microsoft.com/office/drawing/2014/main" val="3254744851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3558986444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2741112277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2934960987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913456742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3236016132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2704036283"/>
                    </a:ext>
                  </a:extLst>
                </a:gridCol>
              </a:tblGrid>
              <a:tr h="683918">
                <a:tc>
                  <a:txBody>
                    <a:bodyPr/>
                    <a:lstStyle/>
                    <a:p>
                      <a:pPr marL="0" algn="ctr" defTabSz="483733" rtl="0" eaLnBrk="1" fontAlgn="b" latinLnBrk="0" hangingPunct="1"/>
                      <a:r>
                        <a:rPr lang="en-US" sz="11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igenes</a:t>
                      </a: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Auto</a:t>
                      </a:r>
                    </a:p>
                  </a:txBody>
                  <a:tcPr marL="2391" marR="2391" marT="2391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8373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3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4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5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aster A/B/nicht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209501"/>
                  </a:ext>
                </a:extLst>
              </a:tr>
              <a:tr h="34344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onsolas" panose="020B0609020204030204" pitchFamily="49" charset="0"/>
                        </a:rPr>
                        <a:t>2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marL="2391" marR="2391" marT="239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9162612"/>
                  </a:ext>
                </a:extLst>
              </a:tr>
            </a:tbl>
          </a:graphicData>
        </a:graphic>
      </p:graphicFrame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5187F209-CE51-4F79-9D03-9DB1A8D38652}"/>
              </a:ext>
            </a:extLst>
          </p:cNvPr>
          <p:cNvGrpSpPr/>
          <p:nvPr/>
        </p:nvGrpSpPr>
        <p:grpSpPr>
          <a:xfrm>
            <a:off x="4627496" y="4875510"/>
            <a:ext cx="3803658" cy="1212349"/>
            <a:chOff x="685102" y="2105009"/>
            <a:chExt cx="4463036" cy="1799581"/>
          </a:xfrm>
        </p:grpSpPr>
        <p:grpSp>
          <p:nvGrpSpPr>
            <p:cNvPr id="118" name="Gruppieren 117">
              <a:extLst>
                <a:ext uri="{FF2B5EF4-FFF2-40B4-BE49-F238E27FC236}">
                  <a16:creationId xmlns:a16="http://schemas.microsoft.com/office/drawing/2014/main" id="{14CA2A3D-7B3B-4AB6-93E9-1B6974E49597}"/>
                </a:ext>
              </a:extLst>
            </p:cNvPr>
            <p:cNvGrpSpPr/>
            <p:nvPr/>
          </p:nvGrpSpPr>
          <p:grpSpPr>
            <a:xfrm>
              <a:off x="685102" y="2105009"/>
              <a:ext cx="4463036" cy="1799581"/>
              <a:chOff x="2466086" y="3575113"/>
              <a:chExt cx="4463036" cy="1799581"/>
            </a:xfrm>
          </p:grpSpPr>
          <p:pic>
            <p:nvPicPr>
              <p:cNvPr id="24" name="Grafik 23">
                <a:extLst>
                  <a:ext uri="{FF2B5EF4-FFF2-40B4-BE49-F238E27FC236}">
                    <a16:creationId xmlns:a16="http://schemas.microsoft.com/office/drawing/2014/main" id="{10D8B87D-1F96-48B5-B3C2-074DCCD3F5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806262" y="3575113"/>
                <a:ext cx="3384331" cy="179958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56" name="Grafik 55">
                <a:extLst>
                  <a:ext uri="{FF2B5EF4-FFF2-40B4-BE49-F238E27FC236}">
                    <a16:creationId xmlns:a16="http://schemas.microsoft.com/office/drawing/2014/main" id="{E3A50879-E879-44A0-B382-65C2D585FDA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307859" y="4189795"/>
                <a:ext cx="557884" cy="216893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57" name="Grafik 56">
                <a:extLst>
                  <a:ext uri="{FF2B5EF4-FFF2-40B4-BE49-F238E27FC236}">
                    <a16:creationId xmlns:a16="http://schemas.microsoft.com/office/drawing/2014/main" id="{8B6F06A4-3F33-42D1-9E24-34004AD6A7D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280915" y="3828231"/>
                <a:ext cx="608475" cy="21689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113" name="Rechteck 112">
                <a:extLst>
                  <a:ext uri="{FF2B5EF4-FFF2-40B4-BE49-F238E27FC236}">
                    <a16:creationId xmlns:a16="http://schemas.microsoft.com/office/drawing/2014/main" id="{0E1A2FB0-79DB-4ECE-AE0C-9B383494CE7B}"/>
                  </a:ext>
                </a:extLst>
              </p:cNvPr>
              <p:cNvSpPr/>
              <p:nvPr/>
            </p:nvSpPr>
            <p:spPr bwMode="gray">
              <a:xfrm>
                <a:off x="6280915" y="3749040"/>
                <a:ext cx="648207" cy="749808"/>
              </a:xfrm>
              <a:prstGeom prst="rect">
                <a:avLst/>
              </a:prstGeom>
              <a:solidFill>
                <a:schemeClr val="bg1">
                  <a:alpha val="82000"/>
                </a:schemeClr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sz="1800" dirty="0" err="1">
                  <a:cs typeface="Arial" charset="0"/>
                </a:endParaRPr>
              </a:p>
            </p:txBody>
          </p:sp>
          <p:cxnSp>
            <p:nvCxnSpPr>
              <p:cNvPr id="115" name="Verbinder: gewinkelt 114">
                <a:extLst>
                  <a:ext uri="{FF2B5EF4-FFF2-40B4-BE49-F238E27FC236}">
                    <a16:creationId xmlns:a16="http://schemas.microsoft.com/office/drawing/2014/main" id="{7DC75A59-C5CA-4696-ACFC-8B30F3B2881D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1898237" y="4149312"/>
                <a:ext cx="1603312" cy="467614"/>
              </a:xfrm>
              <a:prstGeom prst="bentConnector3">
                <a:avLst>
                  <a:gd name="adj1" fmla="val 101329"/>
                </a:avLst>
              </a:prstGeom>
              <a:ln w="69850">
                <a:solidFill>
                  <a:schemeClr val="tx2">
                    <a:lumMod val="60000"/>
                    <a:lumOff val="40000"/>
                  </a:schemeClr>
                </a:solidFill>
                <a:miter lim="800000"/>
                <a:headEnd type="none" w="med" len="med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1566DB9B-4906-4B5D-9522-0A029F584587}"/>
                </a:ext>
              </a:extLst>
            </p:cNvPr>
            <p:cNvSpPr/>
            <p:nvPr/>
          </p:nvSpPr>
          <p:spPr bwMode="gray">
            <a:xfrm>
              <a:off x="2001820" y="3612083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5C14D5FA-5C65-47C1-A74B-47B75B9799F6}"/>
                </a:ext>
              </a:extLst>
            </p:cNvPr>
            <p:cNvSpPr/>
            <p:nvPr/>
          </p:nvSpPr>
          <p:spPr bwMode="gray">
            <a:xfrm>
              <a:off x="3337403" y="3312207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29A21B0C-CC3E-4A3D-9CBA-1D9E2393268F}"/>
                </a:ext>
              </a:extLst>
            </p:cNvPr>
            <p:cNvSpPr/>
            <p:nvPr/>
          </p:nvSpPr>
          <p:spPr bwMode="gray">
            <a:xfrm>
              <a:off x="3994842" y="2401284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17CDA57D-938E-4D24-86D3-10D28BAB5400}"/>
                </a:ext>
              </a:extLst>
            </p:cNvPr>
            <p:cNvSpPr/>
            <p:nvPr/>
          </p:nvSpPr>
          <p:spPr bwMode="gray">
            <a:xfrm>
              <a:off x="2658886" y="3627802"/>
              <a:ext cx="172822" cy="173737"/>
            </a:xfrm>
            <a:prstGeom prst="rect">
              <a:avLst/>
            </a:prstGeom>
            <a:solidFill>
              <a:srgbClr val="FF9966"/>
            </a:solidFill>
            <a:ln w="381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</p:grpSp>
      <p:grpSp>
        <p:nvGrpSpPr>
          <p:cNvPr id="126" name="Gruppieren 125">
            <a:extLst>
              <a:ext uri="{FF2B5EF4-FFF2-40B4-BE49-F238E27FC236}">
                <a16:creationId xmlns:a16="http://schemas.microsoft.com/office/drawing/2014/main" id="{6781AA7C-6372-45E9-A86E-9BC523F8A87F}"/>
              </a:ext>
            </a:extLst>
          </p:cNvPr>
          <p:cNvGrpSpPr/>
          <p:nvPr/>
        </p:nvGrpSpPr>
        <p:grpSpPr>
          <a:xfrm>
            <a:off x="1210032" y="2303043"/>
            <a:ext cx="3783157" cy="1212349"/>
            <a:chOff x="6061250" y="2100725"/>
            <a:chExt cx="4463036" cy="1799581"/>
          </a:xfrm>
        </p:grpSpPr>
        <p:grpSp>
          <p:nvGrpSpPr>
            <p:cNvPr id="66" name="Gruppieren 65">
              <a:extLst>
                <a:ext uri="{FF2B5EF4-FFF2-40B4-BE49-F238E27FC236}">
                  <a16:creationId xmlns:a16="http://schemas.microsoft.com/office/drawing/2014/main" id="{027B8972-64AE-485C-A15F-AA7D3AB90DF1}"/>
                </a:ext>
              </a:extLst>
            </p:cNvPr>
            <p:cNvGrpSpPr/>
            <p:nvPr/>
          </p:nvGrpSpPr>
          <p:grpSpPr>
            <a:xfrm>
              <a:off x="6061250" y="2100725"/>
              <a:ext cx="4463036" cy="1799581"/>
              <a:chOff x="2466086" y="3575113"/>
              <a:chExt cx="4463036" cy="1799581"/>
            </a:xfrm>
          </p:grpSpPr>
          <p:pic>
            <p:nvPicPr>
              <p:cNvPr id="67" name="Grafik 66">
                <a:extLst>
                  <a:ext uri="{FF2B5EF4-FFF2-40B4-BE49-F238E27FC236}">
                    <a16:creationId xmlns:a16="http://schemas.microsoft.com/office/drawing/2014/main" id="{E908512B-3C7B-452C-9C97-BC78A5E1DC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806262" y="3575113"/>
                <a:ext cx="3384331" cy="179958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68" name="Grafik 67">
                <a:extLst>
                  <a:ext uri="{FF2B5EF4-FFF2-40B4-BE49-F238E27FC236}">
                    <a16:creationId xmlns:a16="http://schemas.microsoft.com/office/drawing/2014/main" id="{618A39DE-3611-4E3E-B193-989AF604A76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307859" y="4189795"/>
                <a:ext cx="557884" cy="30270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69" name="Grafik 68">
                <a:extLst>
                  <a:ext uri="{FF2B5EF4-FFF2-40B4-BE49-F238E27FC236}">
                    <a16:creationId xmlns:a16="http://schemas.microsoft.com/office/drawing/2014/main" id="{36873DB8-CBA5-4D52-A969-E4B1100C1B5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280915" y="3828231"/>
                <a:ext cx="608475" cy="21689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70" name="Rechteck 69">
                <a:extLst>
                  <a:ext uri="{FF2B5EF4-FFF2-40B4-BE49-F238E27FC236}">
                    <a16:creationId xmlns:a16="http://schemas.microsoft.com/office/drawing/2014/main" id="{001F4536-E8FD-4913-B4CD-9826BC988F2A}"/>
                  </a:ext>
                </a:extLst>
              </p:cNvPr>
              <p:cNvSpPr/>
              <p:nvPr/>
            </p:nvSpPr>
            <p:spPr bwMode="gray">
              <a:xfrm>
                <a:off x="6280915" y="3772948"/>
                <a:ext cx="648207" cy="307242"/>
              </a:xfrm>
              <a:prstGeom prst="rect">
                <a:avLst/>
              </a:prstGeom>
              <a:solidFill>
                <a:schemeClr val="bg1">
                  <a:alpha val="82000"/>
                </a:schemeClr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sz="1800" dirty="0" err="1">
                  <a:cs typeface="Arial" charset="0"/>
                </a:endParaRPr>
              </a:p>
            </p:txBody>
          </p:sp>
          <p:cxnSp>
            <p:nvCxnSpPr>
              <p:cNvPr id="71" name="Verbinder: gewinkelt 70">
                <a:extLst>
                  <a:ext uri="{FF2B5EF4-FFF2-40B4-BE49-F238E27FC236}">
                    <a16:creationId xmlns:a16="http://schemas.microsoft.com/office/drawing/2014/main" id="{04341AAE-760D-4351-B570-E307D6B9D8A1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1898237" y="4149312"/>
                <a:ext cx="1603312" cy="467614"/>
              </a:xfrm>
              <a:prstGeom prst="bentConnector3">
                <a:avLst>
                  <a:gd name="adj1" fmla="val 101329"/>
                </a:avLst>
              </a:prstGeom>
              <a:ln w="69850">
                <a:solidFill>
                  <a:schemeClr val="tx2">
                    <a:lumMod val="60000"/>
                    <a:lumOff val="40000"/>
                  </a:schemeClr>
                </a:solidFill>
                <a:miter lim="800000"/>
                <a:headEnd type="none" w="med" len="med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58ECD1F2-2B2F-475E-A0B8-0A07476E8E77}"/>
                </a:ext>
              </a:extLst>
            </p:cNvPr>
            <p:cNvSpPr/>
            <p:nvPr/>
          </p:nvSpPr>
          <p:spPr bwMode="gray">
            <a:xfrm>
              <a:off x="8721589" y="3606322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7683CD85-D85E-46AB-AE2A-5391DC689CD3}"/>
                </a:ext>
              </a:extLst>
            </p:cNvPr>
            <p:cNvSpPr/>
            <p:nvPr/>
          </p:nvSpPr>
          <p:spPr bwMode="gray">
            <a:xfrm>
              <a:off x="9378125" y="2397918"/>
              <a:ext cx="162000" cy="17373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9A12A56E-C10A-4BDB-A11B-DA512AA663EA}"/>
                </a:ext>
              </a:extLst>
            </p:cNvPr>
            <p:cNvSpPr/>
            <p:nvPr/>
          </p:nvSpPr>
          <p:spPr bwMode="gray">
            <a:xfrm>
              <a:off x="8716709" y="3309656"/>
              <a:ext cx="162000" cy="17373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4A3E657E-6CEA-4800-9244-48A1D9317286}"/>
                </a:ext>
              </a:extLst>
            </p:cNvPr>
            <p:cNvSpPr/>
            <p:nvPr/>
          </p:nvSpPr>
          <p:spPr bwMode="gray">
            <a:xfrm>
              <a:off x="8049589" y="3627554"/>
              <a:ext cx="162000" cy="17373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46CC395D-EF29-4740-B558-50216E665F3F}"/>
                </a:ext>
              </a:extLst>
            </p:cNvPr>
            <p:cNvSpPr/>
            <p:nvPr/>
          </p:nvSpPr>
          <p:spPr bwMode="gray">
            <a:xfrm>
              <a:off x="7390111" y="3309656"/>
              <a:ext cx="162000" cy="17373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4B06B53E-6B95-4942-BFEB-5091359FA47B}"/>
                </a:ext>
              </a:extLst>
            </p:cNvPr>
            <p:cNvSpPr/>
            <p:nvPr/>
          </p:nvSpPr>
          <p:spPr bwMode="gray">
            <a:xfrm>
              <a:off x="6696218" y="2397000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CF6DF74A-29BF-4A21-8028-A52B0651C5E0}"/>
                </a:ext>
              </a:extLst>
            </p:cNvPr>
            <p:cNvSpPr/>
            <p:nvPr/>
          </p:nvSpPr>
          <p:spPr bwMode="gray">
            <a:xfrm>
              <a:off x="9378125" y="2707214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164DBDE2-BDD1-4C34-B614-BEBB7239A4D8}"/>
                </a:ext>
              </a:extLst>
            </p:cNvPr>
            <p:cNvSpPr/>
            <p:nvPr/>
          </p:nvSpPr>
          <p:spPr bwMode="gray">
            <a:xfrm>
              <a:off x="7401300" y="3594057"/>
              <a:ext cx="172822" cy="173737"/>
            </a:xfrm>
            <a:prstGeom prst="rect">
              <a:avLst/>
            </a:prstGeom>
            <a:solidFill>
              <a:srgbClr val="FF9966"/>
            </a:solidFill>
            <a:ln w="381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</p:grpSp>
      <p:graphicFrame>
        <p:nvGraphicFramePr>
          <p:cNvPr id="127" name="Tabelle 126">
            <a:extLst>
              <a:ext uri="{FF2B5EF4-FFF2-40B4-BE49-F238E27FC236}">
                <a16:creationId xmlns:a16="http://schemas.microsoft.com/office/drawing/2014/main" id="{7710482D-42F1-465B-89D9-45112533A9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1930185"/>
              </p:ext>
            </p:extLst>
          </p:nvPr>
        </p:nvGraphicFramePr>
        <p:xfrm>
          <a:off x="7884831" y="1275682"/>
          <a:ext cx="4086250" cy="1027361"/>
        </p:xfrm>
        <a:graphic>
          <a:graphicData uri="http://schemas.openxmlformats.org/drawingml/2006/table">
            <a:tbl>
              <a:tblPr/>
              <a:tblGrid>
                <a:gridCol w="583750">
                  <a:extLst>
                    <a:ext uri="{9D8B030D-6E8A-4147-A177-3AD203B41FA5}">
                      <a16:colId xmlns:a16="http://schemas.microsoft.com/office/drawing/2014/main" val="3254744851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3558986444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2741112277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2934960987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913456742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3236016132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2704036283"/>
                    </a:ext>
                  </a:extLst>
                </a:gridCol>
              </a:tblGrid>
              <a:tr h="683918">
                <a:tc>
                  <a:txBody>
                    <a:bodyPr/>
                    <a:lstStyle/>
                    <a:p>
                      <a:pPr marL="0" algn="ctr" defTabSz="483733" rtl="0" eaLnBrk="1" fontAlgn="b" latinLnBrk="0" hangingPunct="1"/>
                      <a:r>
                        <a:rPr lang="en-US" sz="11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igenes</a:t>
                      </a: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Auto</a:t>
                      </a:r>
                    </a:p>
                  </a:txBody>
                  <a:tcPr marL="2391" marR="2391" marT="2391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8373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3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4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5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aster A/B/nicht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209501"/>
                  </a:ext>
                </a:extLst>
              </a:tr>
              <a:tr h="34344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onsolas" panose="020B0609020204030204" pitchFamily="49" charset="0"/>
                        </a:rPr>
                        <a:t>3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marL="2391" marR="2391" marT="239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9162612"/>
                  </a:ext>
                </a:extLst>
              </a:tr>
            </a:tbl>
          </a:graphicData>
        </a:graphic>
      </p:graphicFrame>
      <p:grpSp>
        <p:nvGrpSpPr>
          <p:cNvPr id="128" name="Gruppieren 127">
            <a:extLst>
              <a:ext uri="{FF2B5EF4-FFF2-40B4-BE49-F238E27FC236}">
                <a16:creationId xmlns:a16="http://schemas.microsoft.com/office/drawing/2014/main" id="{A97B1D32-A6EE-4F70-AFC6-DE8AA52A764A}"/>
              </a:ext>
            </a:extLst>
          </p:cNvPr>
          <p:cNvGrpSpPr/>
          <p:nvPr/>
        </p:nvGrpSpPr>
        <p:grpSpPr>
          <a:xfrm>
            <a:off x="8187923" y="2302778"/>
            <a:ext cx="3783157" cy="1212349"/>
            <a:chOff x="6061250" y="2100725"/>
            <a:chExt cx="4463036" cy="1799581"/>
          </a:xfrm>
        </p:grpSpPr>
        <p:grpSp>
          <p:nvGrpSpPr>
            <p:cNvPr id="129" name="Gruppieren 128">
              <a:extLst>
                <a:ext uri="{FF2B5EF4-FFF2-40B4-BE49-F238E27FC236}">
                  <a16:creationId xmlns:a16="http://schemas.microsoft.com/office/drawing/2014/main" id="{02A5CDCB-616A-4200-B443-674A0365990C}"/>
                </a:ext>
              </a:extLst>
            </p:cNvPr>
            <p:cNvGrpSpPr/>
            <p:nvPr/>
          </p:nvGrpSpPr>
          <p:grpSpPr>
            <a:xfrm>
              <a:off x="6061250" y="2100725"/>
              <a:ext cx="4463036" cy="1799581"/>
              <a:chOff x="2466086" y="3575113"/>
              <a:chExt cx="4463036" cy="1799581"/>
            </a:xfrm>
          </p:grpSpPr>
          <p:pic>
            <p:nvPicPr>
              <p:cNvPr id="138" name="Grafik 137">
                <a:extLst>
                  <a:ext uri="{FF2B5EF4-FFF2-40B4-BE49-F238E27FC236}">
                    <a16:creationId xmlns:a16="http://schemas.microsoft.com/office/drawing/2014/main" id="{63153F9A-3C4B-452A-B569-EA9E3606F38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806262" y="3575113"/>
                <a:ext cx="3384331" cy="179958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39" name="Grafik 138">
                <a:extLst>
                  <a:ext uri="{FF2B5EF4-FFF2-40B4-BE49-F238E27FC236}">
                    <a16:creationId xmlns:a16="http://schemas.microsoft.com/office/drawing/2014/main" id="{87B4F68A-3D44-453E-8789-98168E4C3B4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307859" y="4189795"/>
                <a:ext cx="557884" cy="30270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40" name="Grafik 139">
                <a:extLst>
                  <a:ext uri="{FF2B5EF4-FFF2-40B4-BE49-F238E27FC236}">
                    <a16:creationId xmlns:a16="http://schemas.microsoft.com/office/drawing/2014/main" id="{6BB437DE-3301-4471-A41D-9192E6F17EF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280915" y="3828231"/>
                <a:ext cx="608475" cy="21689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141" name="Rechteck 140">
                <a:extLst>
                  <a:ext uri="{FF2B5EF4-FFF2-40B4-BE49-F238E27FC236}">
                    <a16:creationId xmlns:a16="http://schemas.microsoft.com/office/drawing/2014/main" id="{C9D76278-5E26-48C2-9656-DA51C6CCAEEF}"/>
                  </a:ext>
                </a:extLst>
              </p:cNvPr>
              <p:cNvSpPr/>
              <p:nvPr/>
            </p:nvSpPr>
            <p:spPr bwMode="gray">
              <a:xfrm>
                <a:off x="6280915" y="4189794"/>
                <a:ext cx="648207" cy="338901"/>
              </a:xfrm>
              <a:prstGeom prst="rect">
                <a:avLst/>
              </a:prstGeom>
              <a:solidFill>
                <a:schemeClr val="bg1">
                  <a:alpha val="82000"/>
                </a:schemeClr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sz="1800" dirty="0" err="1">
                  <a:cs typeface="Arial" charset="0"/>
                </a:endParaRPr>
              </a:p>
            </p:txBody>
          </p:sp>
          <p:cxnSp>
            <p:nvCxnSpPr>
              <p:cNvPr id="142" name="Verbinder: gewinkelt 141">
                <a:extLst>
                  <a:ext uri="{FF2B5EF4-FFF2-40B4-BE49-F238E27FC236}">
                    <a16:creationId xmlns:a16="http://schemas.microsoft.com/office/drawing/2014/main" id="{FAE4E3F2-7270-4683-A594-6830C94A2754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1898237" y="4149312"/>
                <a:ext cx="1603312" cy="467614"/>
              </a:xfrm>
              <a:prstGeom prst="bentConnector3">
                <a:avLst>
                  <a:gd name="adj1" fmla="val 101329"/>
                </a:avLst>
              </a:prstGeom>
              <a:ln w="69850">
                <a:solidFill>
                  <a:schemeClr val="tx2">
                    <a:lumMod val="60000"/>
                    <a:lumOff val="40000"/>
                  </a:schemeClr>
                </a:solidFill>
                <a:miter lim="800000"/>
                <a:headEnd type="none" w="med" len="med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DEEA978A-9CE2-4823-ABDE-A36FD980F5E5}"/>
                </a:ext>
              </a:extLst>
            </p:cNvPr>
            <p:cNvSpPr/>
            <p:nvPr/>
          </p:nvSpPr>
          <p:spPr bwMode="gray">
            <a:xfrm>
              <a:off x="8053081" y="3320735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068D32C6-9BB8-49C8-957D-A357BD953362}"/>
                </a:ext>
              </a:extLst>
            </p:cNvPr>
            <p:cNvSpPr/>
            <p:nvPr/>
          </p:nvSpPr>
          <p:spPr bwMode="gray">
            <a:xfrm>
              <a:off x="9378125" y="2397918"/>
              <a:ext cx="162000" cy="17373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FE650A39-9E99-41EE-B614-22EA64AD5D6A}"/>
                </a:ext>
              </a:extLst>
            </p:cNvPr>
            <p:cNvSpPr/>
            <p:nvPr/>
          </p:nvSpPr>
          <p:spPr bwMode="gray">
            <a:xfrm>
              <a:off x="8716709" y="3309656"/>
              <a:ext cx="162000" cy="17373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3B3B1303-E678-4A3A-830B-0EC0F866E4F0}"/>
                </a:ext>
              </a:extLst>
            </p:cNvPr>
            <p:cNvSpPr/>
            <p:nvPr/>
          </p:nvSpPr>
          <p:spPr bwMode="gray">
            <a:xfrm>
              <a:off x="8049589" y="3627554"/>
              <a:ext cx="162000" cy="17373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E9E4380A-430C-4A9E-8CD3-5E73E3AEA440}"/>
                </a:ext>
              </a:extLst>
            </p:cNvPr>
            <p:cNvSpPr/>
            <p:nvPr/>
          </p:nvSpPr>
          <p:spPr bwMode="gray">
            <a:xfrm>
              <a:off x="7380731" y="3309657"/>
              <a:ext cx="162000" cy="17373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135" name="Rechteck 134">
              <a:extLst>
                <a:ext uri="{FF2B5EF4-FFF2-40B4-BE49-F238E27FC236}">
                  <a16:creationId xmlns:a16="http://schemas.microsoft.com/office/drawing/2014/main" id="{1AF7EB85-08F4-4BCC-8B84-93761FA3996C}"/>
                </a:ext>
              </a:extLst>
            </p:cNvPr>
            <p:cNvSpPr/>
            <p:nvPr/>
          </p:nvSpPr>
          <p:spPr bwMode="gray">
            <a:xfrm>
              <a:off x="6715926" y="2709280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136" name="Rechteck 135">
              <a:extLst>
                <a:ext uri="{FF2B5EF4-FFF2-40B4-BE49-F238E27FC236}">
                  <a16:creationId xmlns:a16="http://schemas.microsoft.com/office/drawing/2014/main" id="{81B03D46-644D-4D4D-8306-45F0C364074C}"/>
                </a:ext>
              </a:extLst>
            </p:cNvPr>
            <p:cNvSpPr/>
            <p:nvPr/>
          </p:nvSpPr>
          <p:spPr bwMode="gray">
            <a:xfrm>
              <a:off x="9378125" y="3317945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137" name="Rechteck 136">
              <a:extLst>
                <a:ext uri="{FF2B5EF4-FFF2-40B4-BE49-F238E27FC236}">
                  <a16:creationId xmlns:a16="http://schemas.microsoft.com/office/drawing/2014/main" id="{7D9F19A6-4927-437B-A860-916A18113CB3}"/>
                </a:ext>
              </a:extLst>
            </p:cNvPr>
            <p:cNvSpPr/>
            <p:nvPr/>
          </p:nvSpPr>
          <p:spPr bwMode="gray">
            <a:xfrm>
              <a:off x="8042411" y="3627554"/>
              <a:ext cx="172822" cy="173737"/>
            </a:xfrm>
            <a:prstGeom prst="rect">
              <a:avLst/>
            </a:prstGeom>
            <a:solidFill>
              <a:srgbClr val="FF9966"/>
            </a:solidFill>
            <a:ln w="381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</p:grpSp>
      <p:sp>
        <p:nvSpPr>
          <p:cNvPr id="159" name="Rechteck 158">
            <a:extLst>
              <a:ext uri="{FF2B5EF4-FFF2-40B4-BE49-F238E27FC236}">
                <a16:creationId xmlns:a16="http://schemas.microsoft.com/office/drawing/2014/main" id="{B72059BD-158C-426D-BE8D-7C84ED93327F}"/>
              </a:ext>
            </a:extLst>
          </p:cNvPr>
          <p:cNvSpPr/>
          <p:nvPr/>
        </p:nvSpPr>
        <p:spPr bwMode="gray">
          <a:xfrm>
            <a:off x="5751269" y="5699279"/>
            <a:ext cx="137322" cy="11704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21243C8B-C399-4026-BA75-714B01E2B3E2}"/>
              </a:ext>
            </a:extLst>
          </p:cNvPr>
          <p:cNvSpPr/>
          <p:nvPr/>
        </p:nvSpPr>
        <p:spPr bwMode="gray">
          <a:xfrm>
            <a:off x="6316854" y="5276835"/>
            <a:ext cx="147289" cy="117044"/>
          </a:xfrm>
          <a:prstGeom prst="rect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912304C-C36C-4A7E-A4F0-AEF719D2BFEE}"/>
              </a:ext>
            </a:extLst>
          </p:cNvPr>
          <p:cNvSpPr/>
          <p:nvPr/>
        </p:nvSpPr>
        <p:spPr bwMode="gray">
          <a:xfrm>
            <a:off x="2890492" y="2909217"/>
            <a:ext cx="147289" cy="117044"/>
          </a:xfrm>
          <a:prstGeom prst="rect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38B52CC3-F4B4-4A02-8C1D-C085E40AF668}"/>
              </a:ext>
            </a:extLst>
          </p:cNvPr>
          <p:cNvSpPr/>
          <p:nvPr/>
        </p:nvSpPr>
        <p:spPr bwMode="gray">
          <a:xfrm>
            <a:off x="3734618" y="3818621"/>
            <a:ext cx="552440" cy="2247213"/>
          </a:xfrm>
          <a:prstGeom prst="rect">
            <a:avLst/>
          </a:prstGeom>
          <a:solidFill>
            <a:schemeClr val="bg1">
              <a:alpha val="82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vert270"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dirty="0">
                <a:cs typeface="Arial" charset="0"/>
              </a:rPr>
              <a:t>NICHTS</a:t>
            </a:r>
            <a:endParaRPr lang="en-US" sz="1800" dirty="0" err="1">
              <a:cs typeface="Arial" charset="0"/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271BAAD1-ED98-47BB-A489-BB1CB33B1B90}"/>
              </a:ext>
            </a:extLst>
          </p:cNvPr>
          <p:cNvSpPr/>
          <p:nvPr/>
        </p:nvSpPr>
        <p:spPr bwMode="gray">
          <a:xfrm>
            <a:off x="351995" y="1284181"/>
            <a:ext cx="552440" cy="2247213"/>
          </a:xfrm>
          <a:prstGeom prst="rect">
            <a:avLst/>
          </a:prstGeom>
          <a:solidFill>
            <a:schemeClr val="bg1">
              <a:alpha val="82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vert270"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dirty="0">
                <a:cs typeface="Arial" charset="0"/>
              </a:rPr>
              <a:t>LINKS</a:t>
            </a:r>
            <a:endParaRPr lang="en-US" sz="1800" dirty="0" err="1">
              <a:cs typeface="Arial" charset="0"/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5350E6E7-1DE3-4159-A2D6-FDE5041C7CAF}"/>
              </a:ext>
            </a:extLst>
          </p:cNvPr>
          <p:cNvSpPr/>
          <p:nvPr/>
        </p:nvSpPr>
        <p:spPr bwMode="gray">
          <a:xfrm>
            <a:off x="7344430" y="1273183"/>
            <a:ext cx="552440" cy="2247213"/>
          </a:xfrm>
          <a:prstGeom prst="rect">
            <a:avLst/>
          </a:prstGeom>
          <a:solidFill>
            <a:schemeClr val="bg1">
              <a:alpha val="82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vert270"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dirty="0">
                <a:cs typeface="Arial" charset="0"/>
              </a:rPr>
              <a:t>RECHTS</a:t>
            </a:r>
            <a:endParaRPr lang="en-US" sz="1800" dirty="0" err="1">
              <a:cs typeface="Arial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6FF69C9-895F-4B8E-BFBB-84C44E288B7D}"/>
              </a:ext>
            </a:extLst>
          </p:cNvPr>
          <p:cNvSpPr/>
          <p:nvPr/>
        </p:nvSpPr>
        <p:spPr bwMode="gray">
          <a:xfrm>
            <a:off x="9310942" y="3333915"/>
            <a:ext cx="138912" cy="117044"/>
          </a:xfrm>
          <a:prstGeom prst="rect">
            <a:avLst/>
          </a:prstGeom>
          <a:solidFill>
            <a:srgbClr val="FF000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0399379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>
            <a:extLst>
              <a:ext uri="{FF2B5EF4-FFF2-40B4-BE49-F238E27FC236}">
                <a16:creationId xmlns:a16="http://schemas.microsoft.com/office/drawing/2014/main" id="{C0916708-1C21-4FE6-9DEF-89FCC8AFC18D}"/>
              </a:ext>
            </a:extLst>
          </p:cNvPr>
          <p:cNvSpPr/>
          <p:nvPr/>
        </p:nvSpPr>
        <p:spPr bwMode="gray">
          <a:xfrm>
            <a:off x="9793943" y="970983"/>
            <a:ext cx="2264995" cy="5074218"/>
          </a:xfrm>
          <a:prstGeom prst="rect">
            <a:avLst/>
          </a:prstGeom>
          <a:solidFill>
            <a:schemeClr val="bg2">
              <a:lumMod val="40000"/>
              <a:lumOff val="60000"/>
              <a:alpha val="69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3A9F2428-7EAB-4747-9A65-F60CC5D64628}"/>
              </a:ext>
            </a:extLst>
          </p:cNvPr>
          <p:cNvSpPr/>
          <p:nvPr/>
        </p:nvSpPr>
        <p:spPr bwMode="gray">
          <a:xfrm>
            <a:off x="4495639" y="990197"/>
            <a:ext cx="4861721" cy="5074218"/>
          </a:xfrm>
          <a:prstGeom prst="rect">
            <a:avLst/>
          </a:prstGeom>
          <a:solidFill>
            <a:schemeClr val="accent5">
              <a:lumMod val="75000"/>
              <a:alpha val="53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0EB77AF-C278-4CCE-B13F-2691B82D84CA}"/>
              </a:ext>
            </a:extLst>
          </p:cNvPr>
          <p:cNvSpPr/>
          <p:nvPr/>
        </p:nvSpPr>
        <p:spPr bwMode="gray">
          <a:xfrm>
            <a:off x="545770" y="998723"/>
            <a:ext cx="3344995" cy="5074218"/>
          </a:xfrm>
          <a:prstGeom prst="rect">
            <a:avLst/>
          </a:prstGeom>
          <a:solidFill>
            <a:schemeClr val="bg2">
              <a:lumMod val="40000"/>
              <a:lumOff val="60000"/>
              <a:alpha val="69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1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698034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elche </a:t>
            </a:r>
            <a:r>
              <a:rPr lang="de-DE" sz="4000" dirty="0" err="1">
                <a:solidFill>
                  <a:schemeClr val="bg1"/>
                </a:solidFill>
              </a:rPr>
              <a:t>funktion</a:t>
            </a:r>
            <a:r>
              <a:rPr lang="de-DE" sz="4000" dirty="0">
                <a:solidFill>
                  <a:schemeClr val="bg1"/>
                </a:solidFill>
              </a:rPr>
              <a:t> übernimmt das Neuron?</a:t>
            </a:r>
            <a:endParaRPr lang="de-DE" sz="3600" dirty="0">
              <a:cs typeface="TeleGrotesk Next Ultra" pitchFamily="2" charset="0"/>
            </a:endParaRP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3766FC9F-3FB6-4D8D-AAF3-82026EC2834F}"/>
              </a:ext>
            </a:extLst>
          </p:cNvPr>
          <p:cNvCxnSpPr>
            <a:cxnSpLocks/>
            <a:stCxn id="24" idx="3"/>
            <a:endCxn id="44" idx="2"/>
          </p:cNvCxnSpPr>
          <p:nvPr/>
        </p:nvCxnSpPr>
        <p:spPr>
          <a:xfrm flipV="1">
            <a:off x="3510169" y="1882815"/>
            <a:ext cx="1577968" cy="131036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353CC20D-22F5-4731-944B-34ED75BA76EE}"/>
              </a:ext>
            </a:extLst>
          </p:cNvPr>
          <p:cNvCxnSpPr>
            <a:cxnSpLocks/>
            <a:stCxn id="25" idx="3"/>
            <a:endCxn id="51" idx="2"/>
          </p:cNvCxnSpPr>
          <p:nvPr/>
        </p:nvCxnSpPr>
        <p:spPr>
          <a:xfrm flipV="1">
            <a:off x="3468238" y="3540390"/>
            <a:ext cx="1619899" cy="49064"/>
          </a:xfrm>
          <a:prstGeom prst="straightConnector1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8B78A9DE-CF3F-4713-8426-AD60963FC062}"/>
              </a:ext>
            </a:extLst>
          </p:cNvPr>
          <p:cNvCxnSpPr>
            <a:cxnSpLocks/>
            <a:stCxn id="3" idx="3"/>
            <a:endCxn id="52" idx="2"/>
          </p:cNvCxnSpPr>
          <p:nvPr/>
        </p:nvCxnSpPr>
        <p:spPr>
          <a:xfrm flipV="1">
            <a:off x="3503955" y="5216252"/>
            <a:ext cx="1584182" cy="8927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B78CA9AD-5858-41B5-A09E-F9ACC9CEEC0A}"/>
              </a:ext>
            </a:extLst>
          </p:cNvPr>
          <p:cNvCxnSpPr>
            <a:cxnSpLocks/>
            <a:stCxn id="47" idx="6"/>
            <a:endCxn id="123" idx="2"/>
          </p:cNvCxnSpPr>
          <p:nvPr/>
        </p:nvCxnSpPr>
        <p:spPr>
          <a:xfrm>
            <a:off x="8804180" y="1857058"/>
            <a:ext cx="1180025" cy="785193"/>
          </a:xfrm>
          <a:prstGeom prst="straightConnector1">
            <a:avLst/>
          </a:prstGeom>
          <a:ln w="155575">
            <a:solidFill>
              <a:schemeClr val="accent2">
                <a:lumMod val="75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901E9A24-2C2D-4ACB-878F-B5FD25BFDE68}"/>
              </a:ext>
            </a:extLst>
          </p:cNvPr>
          <p:cNvCxnSpPr>
            <a:cxnSpLocks/>
            <a:stCxn id="20" idx="6"/>
            <a:endCxn id="125" idx="2"/>
          </p:cNvCxnSpPr>
          <p:nvPr/>
        </p:nvCxnSpPr>
        <p:spPr>
          <a:xfrm>
            <a:off x="8804180" y="3551209"/>
            <a:ext cx="1157367" cy="872123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3A88159D-5477-4FBD-8CF5-5C76815B05D4}"/>
              </a:ext>
            </a:extLst>
          </p:cNvPr>
          <p:cNvCxnSpPr>
            <a:cxnSpLocks/>
            <a:stCxn id="21" idx="6"/>
            <a:endCxn id="125" idx="2"/>
          </p:cNvCxnSpPr>
          <p:nvPr/>
        </p:nvCxnSpPr>
        <p:spPr>
          <a:xfrm flipV="1">
            <a:off x="8804180" y="4423332"/>
            <a:ext cx="1157367" cy="822027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Ellipse 46">
            <a:extLst>
              <a:ext uri="{FF2B5EF4-FFF2-40B4-BE49-F238E27FC236}">
                <a16:creationId xmlns:a16="http://schemas.microsoft.com/office/drawing/2014/main" id="{48B55164-BE17-430F-9E70-5687DC37043F}"/>
              </a:ext>
            </a:extLst>
          </p:cNvPr>
          <p:cNvSpPr/>
          <p:nvPr/>
        </p:nvSpPr>
        <p:spPr bwMode="gray">
          <a:xfrm>
            <a:off x="7724180" y="1317058"/>
            <a:ext cx="1080000" cy="10800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dirty="0">
                <a:cs typeface="Arial" charset="0"/>
              </a:rPr>
              <a:t>Neuron</a:t>
            </a:r>
            <a:endParaRPr lang="en-US" dirty="0" err="1">
              <a:cs typeface="Arial" charset="0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2C5DF78E-DECB-4DC4-B5FB-47E4221CF552}"/>
              </a:ext>
            </a:extLst>
          </p:cNvPr>
          <p:cNvSpPr/>
          <p:nvPr/>
        </p:nvSpPr>
        <p:spPr bwMode="gray">
          <a:xfrm>
            <a:off x="7724180" y="3011209"/>
            <a:ext cx="1080000" cy="10800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dirty="0">
                <a:cs typeface="Arial" charset="0"/>
              </a:rPr>
              <a:t>Neuron</a:t>
            </a:r>
            <a:endParaRPr lang="en-US" dirty="0" err="1">
              <a:cs typeface="Arial" charset="0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254E30E2-A561-4689-A7BA-40136AC3E30A}"/>
              </a:ext>
            </a:extLst>
          </p:cNvPr>
          <p:cNvSpPr/>
          <p:nvPr/>
        </p:nvSpPr>
        <p:spPr bwMode="gray">
          <a:xfrm>
            <a:off x="7724180" y="4705359"/>
            <a:ext cx="1080000" cy="10800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dirty="0">
                <a:cs typeface="Arial" charset="0"/>
              </a:rPr>
              <a:t>Neuron</a:t>
            </a:r>
            <a:endParaRPr lang="en-US" dirty="0" err="1">
              <a:cs typeface="Arial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30EAD23-A8F2-4426-B8C3-6E0D7AE20B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4000" y="4429156"/>
            <a:ext cx="2629955" cy="1592046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799A8BA5-D603-4C18-8D97-B9847DB114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8716" y="1280187"/>
            <a:ext cx="2611453" cy="1467328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26017FF5-84E4-4D10-BBDC-02E3F6C348E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2802" y="2849429"/>
            <a:ext cx="2495436" cy="1480049"/>
          </a:xfrm>
          <a:prstGeom prst="rect">
            <a:avLst/>
          </a:prstGeom>
          <a:ln w="69850">
            <a:solidFill>
              <a:schemeClr val="accent1">
                <a:lumMod val="60000"/>
                <a:lumOff val="40000"/>
              </a:schemeClr>
            </a:solidFill>
          </a:ln>
        </p:spPr>
      </p:pic>
      <p:sp>
        <p:nvSpPr>
          <p:cNvPr id="44" name="Ellipse 43">
            <a:extLst>
              <a:ext uri="{FF2B5EF4-FFF2-40B4-BE49-F238E27FC236}">
                <a16:creationId xmlns:a16="http://schemas.microsoft.com/office/drawing/2014/main" id="{B57969B8-37F6-4537-996E-18B85FC3BA19}"/>
              </a:ext>
            </a:extLst>
          </p:cNvPr>
          <p:cNvSpPr/>
          <p:nvPr/>
        </p:nvSpPr>
        <p:spPr bwMode="gray">
          <a:xfrm>
            <a:off x="5088137" y="1342815"/>
            <a:ext cx="1080000" cy="10800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dirty="0">
                <a:cs typeface="Arial" charset="0"/>
              </a:rPr>
              <a:t>Neuron</a:t>
            </a:r>
            <a:endParaRPr lang="en-US" dirty="0" err="1">
              <a:cs typeface="Arial" charset="0"/>
            </a:endParaRPr>
          </a:p>
        </p:txBody>
      </p:sp>
      <p:sp>
        <p:nvSpPr>
          <p:cNvPr id="51" name="Ellipse 50">
            <a:extLst>
              <a:ext uri="{FF2B5EF4-FFF2-40B4-BE49-F238E27FC236}">
                <a16:creationId xmlns:a16="http://schemas.microsoft.com/office/drawing/2014/main" id="{1A220367-268C-43B8-9832-82A16651F396}"/>
              </a:ext>
            </a:extLst>
          </p:cNvPr>
          <p:cNvSpPr/>
          <p:nvPr/>
        </p:nvSpPr>
        <p:spPr bwMode="gray">
          <a:xfrm>
            <a:off x="5088137" y="3000390"/>
            <a:ext cx="1080000" cy="10800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dirty="0">
                <a:cs typeface="Arial" charset="0"/>
              </a:rPr>
              <a:t>Neuron</a:t>
            </a:r>
            <a:endParaRPr lang="en-US" dirty="0" err="1">
              <a:cs typeface="Arial" charset="0"/>
            </a:endParaRP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8654DE58-9F95-428F-B5F7-7D963A8C15A3}"/>
              </a:ext>
            </a:extLst>
          </p:cNvPr>
          <p:cNvSpPr/>
          <p:nvPr/>
        </p:nvSpPr>
        <p:spPr bwMode="gray">
          <a:xfrm>
            <a:off x="5088137" y="4676252"/>
            <a:ext cx="1080000" cy="10800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dirty="0">
                <a:cs typeface="Arial" charset="0"/>
              </a:rPr>
              <a:t>Neuron</a:t>
            </a:r>
            <a:endParaRPr lang="en-US" dirty="0" err="1">
              <a:cs typeface="Arial" charset="0"/>
            </a:endParaRP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8FA806A4-7692-42ED-91AE-F5C8F13EC43E}"/>
              </a:ext>
            </a:extLst>
          </p:cNvPr>
          <p:cNvCxnSpPr>
            <a:cxnSpLocks/>
            <a:stCxn id="24" idx="3"/>
            <a:endCxn id="51" idx="2"/>
          </p:cNvCxnSpPr>
          <p:nvPr/>
        </p:nvCxnSpPr>
        <p:spPr>
          <a:xfrm>
            <a:off x="3510169" y="2013851"/>
            <a:ext cx="1577968" cy="1526539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692CE5BA-0E60-4C31-A066-1E74C8A217E0}"/>
              </a:ext>
            </a:extLst>
          </p:cNvPr>
          <p:cNvCxnSpPr>
            <a:cxnSpLocks/>
            <a:stCxn id="25" idx="3"/>
            <a:endCxn id="52" idx="2"/>
          </p:cNvCxnSpPr>
          <p:nvPr/>
        </p:nvCxnSpPr>
        <p:spPr>
          <a:xfrm>
            <a:off x="3468238" y="3589454"/>
            <a:ext cx="1619899" cy="1626798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46C59C9-63F7-4637-8519-F2E271AE7FCF}"/>
              </a:ext>
            </a:extLst>
          </p:cNvPr>
          <p:cNvCxnSpPr>
            <a:cxnSpLocks/>
            <a:stCxn id="24" idx="3"/>
            <a:endCxn id="52" idx="2"/>
          </p:cNvCxnSpPr>
          <p:nvPr/>
        </p:nvCxnSpPr>
        <p:spPr>
          <a:xfrm>
            <a:off x="3510169" y="2013851"/>
            <a:ext cx="1577968" cy="3202401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9F4A2A19-EFC4-4026-9B7E-3B7D547A5A83}"/>
              </a:ext>
            </a:extLst>
          </p:cNvPr>
          <p:cNvCxnSpPr>
            <a:cxnSpLocks/>
            <a:stCxn id="25" idx="3"/>
            <a:endCxn id="44" idx="2"/>
          </p:cNvCxnSpPr>
          <p:nvPr/>
        </p:nvCxnSpPr>
        <p:spPr>
          <a:xfrm flipV="1">
            <a:off x="3468238" y="1882815"/>
            <a:ext cx="1619899" cy="1706639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C0F43E4D-3247-4D29-8759-60266C3A2C99}"/>
              </a:ext>
            </a:extLst>
          </p:cNvPr>
          <p:cNvCxnSpPr>
            <a:cxnSpLocks/>
            <a:stCxn id="3" idx="3"/>
            <a:endCxn id="51" idx="2"/>
          </p:cNvCxnSpPr>
          <p:nvPr/>
        </p:nvCxnSpPr>
        <p:spPr>
          <a:xfrm flipV="1">
            <a:off x="3503955" y="3540390"/>
            <a:ext cx="1584182" cy="1684789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1DF83674-C46A-416F-97D6-3FAE196DF95D}"/>
              </a:ext>
            </a:extLst>
          </p:cNvPr>
          <p:cNvCxnSpPr>
            <a:cxnSpLocks/>
            <a:stCxn id="3" idx="3"/>
            <a:endCxn id="44" idx="2"/>
          </p:cNvCxnSpPr>
          <p:nvPr/>
        </p:nvCxnSpPr>
        <p:spPr>
          <a:xfrm flipV="1">
            <a:off x="3503955" y="1882815"/>
            <a:ext cx="1584182" cy="3342364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367C251C-1B89-4895-A1CF-F511DB336104}"/>
              </a:ext>
            </a:extLst>
          </p:cNvPr>
          <p:cNvCxnSpPr>
            <a:cxnSpLocks/>
            <a:stCxn id="44" idx="6"/>
            <a:endCxn id="47" idx="2"/>
          </p:cNvCxnSpPr>
          <p:nvPr/>
        </p:nvCxnSpPr>
        <p:spPr>
          <a:xfrm flipV="1">
            <a:off x="6168137" y="1857058"/>
            <a:ext cx="1556043" cy="25757"/>
          </a:xfrm>
          <a:prstGeom prst="straightConnector1">
            <a:avLst/>
          </a:prstGeom>
          <a:ln w="114300">
            <a:solidFill>
              <a:schemeClr val="accent2">
                <a:lumMod val="75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0655D0D3-01DB-4F6C-8DA1-45C951E638C8}"/>
              </a:ext>
            </a:extLst>
          </p:cNvPr>
          <p:cNvCxnSpPr>
            <a:cxnSpLocks/>
            <a:stCxn id="51" idx="6"/>
            <a:endCxn id="20" idx="2"/>
          </p:cNvCxnSpPr>
          <p:nvPr/>
        </p:nvCxnSpPr>
        <p:spPr>
          <a:xfrm>
            <a:off x="6168137" y="3540390"/>
            <a:ext cx="1556043" cy="10819"/>
          </a:xfrm>
          <a:prstGeom prst="straightConnector1">
            <a:avLst/>
          </a:prstGeom>
          <a:ln w="79375">
            <a:solidFill>
              <a:schemeClr val="accent1">
                <a:lumMod val="60000"/>
                <a:lumOff val="40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B3C194E8-4B7B-4BF6-BAE3-6DFEBE106845}"/>
              </a:ext>
            </a:extLst>
          </p:cNvPr>
          <p:cNvCxnSpPr>
            <a:cxnSpLocks/>
            <a:stCxn id="52" idx="6"/>
            <a:endCxn id="21" idx="2"/>
          </p:cNvCxnSpPr>
          <p:nvPr/>
        </p:nvCxnSpPr>
        <p:spPr>
          <a:xfrm>
            <a:off x="6168137" y="5216252"/>
            <a:ext cx="1556043" cy="29107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6675CFF3-05FF-47A7-ACEF-26EC552274BC}"/>
              </a:ext>
            </a:extLst>
          </p:cNvPr>
          <p:cNvCxnSpPr>
            <a:cxnSpLocks/>
            <a:stCxn id="44" idx="6"/>
            <a:endCxn id="20" idx="2"/>
          </p:cNvCxnSpPr>
          <p:nvPr/>
        </p:nvCxnSpPr>
        <p:spPr>
          <a:xfrm>
            <a:off x="6168137" y="1882815"/>
            <a:ext cx="1556043" cy="1668394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357F152B-58E1-4855-8682-F20CE7D56A21}"/>
              </a:ext>
            </a:extLst>
          </p:cNvPr>
          <p:cNvCxnSpPr>
            <a:cxnSpLocks/>
            <a:stCxn id="51" idx="6"/>
            <a:endCxn id="21" idx="2"/>
          </p:cNvCxnSpPr>
          <p:nvPr/>
        </p:nvCxnSpPr>
        <p:spPr>
          <a:xfrm>
            <a:off x="6168137" y="3540390"/>
            <a:ext cx="1556043" cy="1704969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2A0842C3-B1A3-409D-A616-8F030C7A8CE4}"/>
              </a:ext>
            </a:extLst>
          </p:cNvPr>
          <p:cNvCxnSpPr>
            <a:cxnSpLocks/>
            <a:stCxn id="44" idx="6"/>
            <a:endCxn id="21" idx="2"/>
          </p:cNvCxnSpPr>
          <p:nvPr/>
        </p:nvCxnSpPr>
        <p:spPr>
          <a:xfrm>
            <a:off x="6168137" y="1882815"/>
            <a:ext cx="1556043" cy="3362544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3222EF5F-F687-4973-867D-CD1271BD7599}"/>
              </a:ext>
            </a:extLst>
          </p:cNvPr>
          <p:cNvCxnSpPr>
            <a:cxnSpLocks/>
            <a:stCxn id="51" idx="6"/>
            <a:endCxn id="47" idx="2"/>
          </p:cNvCxnSpPr>
          <p:nvPr/>
        </p:nvCxnSpPr>
        <p:spPr>
          <a:xfrm flipV="1">
            <a:off x="6168137" y="1857058"/>
            <a:ext cx="1556043" cy="1683332"/>
          </a:xfrm>
          <a:prstGeom prst="straightConnector1">
            <a:avLst/>
          </a:prstGeom>
          <a:ln w="114300">
            <a:solidFill>
              <a:schemeClr val="accent2">
                <a:lumMod val="75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A7007DFF-B43F-4542-A215-F4109DA037F2}"/>
              </a:ext>
            </a:extLst>
          </p:cNvPr>
          <p:cNvCxnSpPr>
            <a:cxnSpLocks/>
            <a:stCxn id="52" idx="6"/>
            <a:endCxn id="20" idx="2"/>
          </p:cNvCxnSpPr>
          <p:nvPr/>
        </p:nvCxnSpPr>
        <p:spPr>
          <a:xfrm flipV="1">
            <a:off x="6168137" y="3551209"/>
            <a:ext cx="1556043" cy="1665043"/>
          </a:xfrm>
          <a:prstGeom prst="straightConnector1">
            <a:avLst/>
          </a:prstGeom>
          <a:ln w="79375">
            <a:solidFill>
              <a:schemeClr val="accent2">
                <a:lumMod val="75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C1E3AFA1-11DF-4E08-8CE6-4F6ADE824594}"/>
              </a:ext>
            </a:extLst>
          </p:cNvPr>
          <p:cNvCxnSpPr>
            <a:cxnSpLocks/>
            <a:stCxn id="52" idx="6"/>
            <a:endCxn id="47" idx="2"/>
          </p:cNvCxnSpPr>
          <p:nvPr/>
        </p:nvCxnSpPr>
        <p:spPr>
          <a:xfrm flipV="1">
            <a:off x="6168137" y="1857058"/>
            <a:ext cx="1556043" cy="3359194"/>
          </a:xfrm>
          <a:prstGeom prst="straightConnector1">
            <a:avLst/>
          </a:prstGeom>
          <a:ln w="114300">
            <a:solidFill>
              <a:schemeClr val="accent2">
                <a:lumMod val="75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3" name="Grafik 122">
            <a:extLst>
              <a:ext uri="{FF2B5EF4-FFF2-40B4-BE49-F238E27FC236}">
                <a16:creationId xmlns:a16="http://schemas.microsoft.com/office/drawing/2014/main" id="{67BF325C-2756-4FA6-A223-23E530E04303}"/>
              </a:ext>
            </a:extLst>
          </p:cNvPr>
          <p:cNvPicPr>
            <a:picLocks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84205" y="2102251"/>
            <a:ext cx="1080000" cy="1080000"/>
          </a:xfrm>
          <a:prstGeom prst="ellipse">
            <a:avLst/>
          </a:prstGeom>
          <a:ln w="117475" cap="rnd"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25" name="Grafik 124">
            <a:extLst>
              <a:ext uri="{FF2B5EF4-FFF2-40B4-BE49-F238E27FC236}">
                <a16:creationId xmlns:a16="http://schemas.microsoft.com/office/drawing/2014/main" id="{A6F529C4-FD1C-4D25-8B33-EF5089CBFB62}"/>
              </a:ext>
            </a:extLst>
          </p:cNvPr>
          <p:cNvPicPr>
            <a:picLocks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61547" y="3883332"/>
            <a:ext cx="1080000" cy="1080000"/>
          </a:xfrm>
          <a:prstGeom prst="ellipse">
            <a:avLst/>
          </a:prstGeom>
          <a:ln w="254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9AE71B9B-FCDA-40DF-A0CE-CEEBB05AB449}"/>
              </a:ext>
            </a:extLst>
          </p:cNvPr>
          <p:cNvCxnSpPr>
            <a:cxnSpLocks/>
            <a:stCxn id="47" idx="6"/>
            <a:endCxn id="125" idx="2"/>
          </p:cNvCxnSpPr>
          <p:nvPr/>
        </p:nvCxnSpPr>
        <p:spPr>
          <a:xfrm>
            <a:off x="8804180" y="1857058"/>
            <a:ext cx="1157367" cy="2566274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E45DD7F4-9F1A-4AD0-9C3F-63DDB22329DC}"/>
              </a:ext>
            </a:extLst>
          </p:cNvPr>
          <p:cNvCxnSpPr>
            <a:cxnSpLocks/>
            <a:stCxn id="20" idx="6"/>
            <a:endCxn id="123" idx="2"/>
          </p:cNvCxnSpPr>
          <p:nvPr/>
        </p:nvCxnSpPr>
        <p:spPr>
          <a:xfrm flipV="1">
            <a:off x="8804180" y="2642251"/>
            <a:ext cx="1180025" cy="908958"/>
          </a:xfrm>
          <a:prstGeom prst="straightConnector1">
            <a:avLst/>
          </a:prstGeom>
          <a:ln w="139700">
            <a:solidFill>
              <a:schemeClr val="accent1">
                <a:lumMod val="60000"/>
                <a:lumOff val="40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37F042C-DE4F-4C52-8BBE-C48F7D21B960}"/>
              </a:ext>
            </a:extLst>
          </p:cNvPr>
          <p:cNvCxnSpPr>
            <a:cxnSpLocks/>
            <a:stCxn id="21" idx="6"/>
            <a:endCxn id="123" idx="2"/>
          </p:cNvCxnSpPr>
          <p:nvPr/>
        </p:nvCxnSpPr>
        <p:spPr>
          <a:xfrm flipV="1">
            <a:off x="8804180" y="2642251"/>
            <a:ext cx="1180025" cy="2603108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feld 30">
            <a:extLst>
              <a:ext uri="{FF2B5EF4-FFF2-40B4-BE49-F238E27FC236}">
                <a16:creationId xmlns:a16="http://schemas.microsoft.com/office/drawing/2014/main" id="{0A3E5DD7-E6BF-4906-906E-38732E70788D}"/>
              </a:ext>
            </a:extLst>
          </p:cNvPr>
          <p:cNvSpPr txBox="1"/>
          <p:nvPr/>
        </p:nvSpPr>
        <p:spPr bwMode="gray">
          <a:xfrm>
            <a:off x="586410" y="941138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chemeClr val="bg1"/>
                </a:solidFill>
              </a:rPr>
              <a:t>Eingangsgrößen</a:t>
            </a:r>
            <a:endParaRPr lang="en-US" sz="1800" b="1" dirty="0" err="1">
              <a:solidFill>
                <a:schemeClr val="bg1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29BDA347-0125-423C-9875-552BE1E4306F}"/>
              </a:ext>
            </a:extLst>
          </p:cNvPr>
          <p:cNvSpPr txBox="1"/>
          <p:nvPr/>
        </p:nvSpPr>
        <p:spPr bwMode="gray">
          <a:xfrm>
            <a:off x="4495639" y="932612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chemeClr val="bg1"/>
                </a:solidFill>
              </a:rPr>
              <a:t>Neuronales Netz</a:t>
            </a:r>
            <a:endParaRPr lang="en-US" sz="1800" b="1" dirty="0" err="1">
              <a:solidFill>
                <a:schemeClr val="bg1"/>
              </a:solidFill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EB832195-F984-4C1A-A5B9-93FAED46D77E}"/>
              </a:ext>
            </a:extLst>
          </p:cNvPr>
          <p:cNvSpPr txBox="1"/>
          <p:nvPr/>
        </p:nvSpPr>
        <p:spPr bwMode="gray">
          <a:xfrm>
            <a:off x="9793943" y="963456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chemeClr val="bg1"/>
                </a:solidFill>
              </a:rPr>
              <a:t>Ausgangsgrößen</a:t>
            </a:r>
            <a:endParaRPr lang="en-US" sz="18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052948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2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elches sind die drei Schritte des </a:t>
            </a:r>
            <a:r>
              <a:rPr lang="de-DE" sz="4000" dirty="0" err="1">
                <a:solidFill>
                  <a:schemeClr val="bg1"/>
                </a:solidFill>
              </a:rPr>
              <a:t>anlernens</a:t>
            </a:r>
            <a:r>
              <a:rPr lang="de-DE" sz="4000" dirty="0">
                <a:solidFill>
                  <a:schemeClr val="bg1"/>
                </a:solidFill>
              </a:rPr>
              <a:t>?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5" name="Pfeil: Chevron 4">
            <a:extLst>
              <a:ext uri="{FF2B5EF4-FFF2-40B4-BE49-F238E27FC236}">
                <a16:creationId xmlns:a16="http://schemas.microsoft.com/office/drawing/2014/main" id="{CECC05C4-122F-42CC-95EC-6D64F8EEA45D}"/>
              </a:ext>
            </a:extLst>
          </p:cNvPr>
          <p:cNvSpPr/>
          <p:nvPr/>
        </p:nvSpPr>
        <p:spPr bwMode="gray">
          <a:xfrm>
            <a:off x="323850" y="2100918"/>
            <a:ext cx="4142490" cy="1543038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b="1" u="sng" dirty="0">
                <a:cs typeface="Arial" charset="0"/>
              </a:rPr>
              <a:t>Lange Spielen </a:t>
            </a:r>
            <a:r>
              <a:rPr lang="de-DE" b="1" dirty="0">
                <a:cs typeface="Arial" charset="0"/>
              </a:rPr>
              <a:t>um viele Trainingsdaten zu erzeugen.</a:t>
            </a:r>
          </a:p>
        </p:txBody>
      </p:sp>
      <p:sp>
        <p:nvSpPr>
          <p:cNvPr id="6" name="Pfeil: Chevron 5">
            <a:extLst>
              <a:ext uri="{FF2B5EF4-FFF2-40B4-BE49-F238E27FC236}">
                <a16:creationId xmlns:a16="http://schemas.microsoft.com/office/drawing/2014/main" id="{CBA75A7D-CA09-49D4-A770-E97EA8DDAD95}"/>
              </a:ext>
            </a:extLst>
          </p:cNvPr>
          <p:cNvSpPr/>
          <p:nvPr/>
        </p:nvSpPr>
        <p:spPr bwMode="gray">
          <a:xfrm>
            <a:off x="3916348" y="2105997"/>
            <a:ext cx="4142490" cy="1531223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b="1" dirty="0">
                <a:cs typeface="Arial" charset="0"/>
              </a:rPr>
              <a:t>Eigenes Auto durch das Neuronale Netz </a:t>
            </a:r>
            <a:r>
              <a:rPr lang="de-DE" b="1" u="sng" dirty="0">
                <a:cs typeface="Arial" charset="0"/>
              </a:rPr>
              <a:t>Anlernen und Testen</a:t>
            </a:r>
            <a:r>
              <a:rPr lang="de-DE" b="1" dirty="0">
                <a:cs typeface="Arial" charset="0"/>
              </a:rPr>
              <a:t>. </a:t>
            </a: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190CB095-D87B-452A-9239-310F74F40B23}"/>
              </a:ext>
            </a:extLst>
          </p:cNvPr>
          <p:cNvSpPr/>
          <p:nvPr/>
        </p:nvSpPr>
        <p:spPr bwMode="gray">
          <a:xfrm>
            <a:off x="7508847" y="2105997"/>
            <a:ext cx="4142490" cy="1531223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b="1" dirty="0">
                <a:cs typeface="Arial" charset="0"/>
              </a:rPr>
              <a:t>Künstlich Intelligente </a:t>
            </a:r>
            <a:r>
              <a:rPr lang="de-DE" b="1" dirty="0" err="1">
                <a:cs typeface="Arial" charset="0"/>
              </a:rPr>
              <a:t>Calliope</a:t>
            </a:r>
            <a:r>
              <a:rPr lang="de-DE" b="1" dirty="0">
                <a:cs typeface="Arial" charset="0"/>
              </a:rPr>
              <a:t> </a:t>
            </a:r>
            <a:r>
              <a:rPr lang="de-DE" b="1" u="sng" dirty="0">
                <a:cs typeface="Arial" charset="0"/>
              </a:rPr>
              <a:t>übernimmt die Steuerung </a:t>
            </a:r>
            <a:r>
              <a:rPr lang="de-DE" b="1" dirty="0">
                <a:cs typeface="Arial" charset="0"/>
              </a:rPr>
              <a:t>und muss „IQ-Test“ bestehen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9AD58EC-AAE9-48BE-8640-12C9BE35474C}"/>
              </a:ext>
            </a:extLst>
          </p:cNvPr>
          <p:cNvSpPr/>
          <p:nvPr/>
        </p:nvSpPr>
        <p:spPr bwMode="gray">
          <a:xfrm>
            <a:off x="625640" y="1624260"/>
            <a:ext cx="565485" cy="62564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b="1" dirty="0">
                <a:cs typeface="Arial" charset="0"/>
              </a:rPr>
              <a:t>1</a:t>
            </a:r>
            <a:endParaRPr lang="en-US" sz="3600" b="1" dirty="0" err="1">
              <a:cs typeface="Arial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EBF94CC-BC25-4B81-8AD0-FA5725E4DE9C}"/>
              </a:ext>
            </a:extLst>
          </p:cNvPr>
          <p:cNvSpPr/>
          <p:nvPr/>
        </p:nvSpPr>
        <p:spPr bwMode="gray">
          <a:xfrm>
            <a:off x="4287869" y="1634224"/>
            <a:ext cx="565485" cy="62564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b="1" dirty="0">
                <a:cs typeface="Arial" charset="0"/>
              </a:rPr>
              <a:t>2</a:t>
            </a:r>
            <a:endParaRPr lang="en-US" sz="3600" b="1" dirty="0" err="1">
              <a:cs typeface="Arial" charset="0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558FB7E-3C13-4F55-BAE5-8B591ADAF531}"/>
              </a:ext>
            </a:extLst>
          </p:cNvPr>
          <p:cNvSpPr/>
          <p:nvPr/>
        </p:nvSpPr>
        <p:spPr bwMode="gray">
          <a:xfrm>
            <a:off x="8015198" y="1634224"/>
            <a:ext cx="565485" cy="62564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b="1" dirty="0">
                <a:cs typeface="Arial" charset="0"/>
              </a:rPr>
              <a:t>3</a:t>
            </a:r>
            <a:endParaRPr lang="en-US" sz="3600" b="1" dirty="0" err="1">
              <a:cs typeface="Arial" charset="0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4B0D6123-1570-48E4-8ACE-A16693EB0581}"/>
              </a:ext>
            </a:extLst>
          </p:cNvPr>
          <p:cNvSpPr/>
          <p:nvPr/>
        </p:nvSpPr>
        <p:spPr bwMode="gray">
          <a:xfrm>
            <a:off x="625640" y="1634224"/>
            <a:ext cx="565485" cy="62564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b="1" dirty="0">
                <a:cs typeface="Arial" charset="0"/>
              </a:rPr>
              <a:t>1</a:t>
            </a:r>
            <a:endParaRPr lang="en-US" sz="3600" b="1" dirty="0" err="1">
              <a:cs typeface="Arial" charset="0"/>
            </a:endParaRPr>
          </a:p>
        </p:txBody>
      </p:sp>
      <p:pic>
        <p:nvPicPr>
          <p:cNvPr id="40" name="Picture 2" descr="IQ-Test: Wie finden Sie Ihren IQ heraus?">
            <a:extLst>
              <a:ext uri="{FF2B5EF4-FFF2-40B4-BE49-F238E27FC236}">
                <a16:creationId xmlns:a16="http://schemas.microsoft.com/office/drawing/2014/main" id="{F90844BE-038D-4CD1-AC80-337CD0704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52443" y="4168772"/>
            <a:ext cx="2871408" cy="147659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2A1C015D-F73F-4E68-9F78-39A457D09DDE}"/>
              </a:ext>
            </a:extLst>
          </p:cNvPr>
          <p:cNvGrpSpPr/>
          <p:nvPr/>
        </p:nvGrpSpPr>
        <p:grpSpPr>
          <a:xfrm>
            <a:off x="5075717" y="3808846"/>
            <a:ext cx="1593985" cy="2119884"/>
            <a:chOff x="5075717" y="3182595"/>
            <a:chExt cx="1593985" cy="2746135"/>
          </a:xfrm>
        </p:grpSpPr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2B0A1F0B-E076-4A3A-81C0-1779E66165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721"/>
            <a:stretch/>
          </p:blipFill>
          <p:spPr>
            <a:xfrm>
              <a:off x="5075717" y="3182595"/>
              <a:ext cx="1593985" cy="2746135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152400" dist="12000" dir="900000" sy="98000" kx="110000" ky="200000" algn="tl" rotWithShape="0">
                <a:srgbClr val="000000">
                  <a:alpha val="30000"/>
                </a:srgbClr>
              </a:outerShdw>
            </a:effectLst>
            <a:scene3d>
              <a:camera prst="perspectiveRelaxed">
                <a:rot lat="19800000" lon="1200000" rev="20820000"/>
              </a:camera>
              <a:lightRig rig="threePt" dir="t"/>
            </a:scene3d>
            <a:sp3d contourW="6350" prstMaterial="matte">
              <a:bevelT w="101600" h="101600"/>
              <a:contourClr>
                <a:srgbClr val="969696"/>
              </a:contourClr>
            </a:sp3d>
          </p:spPr>
        </p:pic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8352DB3C-7577-4198-8039-6CDB46718C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4737857">
              <a:off x="5128368" y="4046437"/>
              <a:ext cx="1657401" cy="971057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</p:grpSp>
      <p:pic>
        <p:nvPicPr>
          <p:cNvPr id="50" name="Grafik 49">
            <a:extLst>
              <a:ext uri="{FF2B5EF4-FFF2-40B4-BE49-F238E27FC236}">
                <a16:creationId xmlns:a16="http://schemas.microsoft.com/office/drawing/2014/main" id="{F192D61B-8A97-4DA5-B02E-6809326FAB4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4350"/>
          <a:stretch/>
        </p:blipFill>
        <p:spPr>
          <a:xfrm>
            <a:off x="970117" y="3962154"/>
            <a:ext cx="2324263" cy="20430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896603523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3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775776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sammeln wir Trainings-Daten?</a:t>
            </a:r>
            <a:r>
              <a:rPr lang="de-DE" sz="2400" dirty="0">
                <a:cs typeface="TeleGrotesk Next Ultra" pitchFamily="2" charset="0"/>
              </a:rPr>
              <a:t>	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9EA10CF-5ABC-4630-9312-9FFD4CD612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47944" y="2663456"/>
            <a:ext cx="5740922" cy="2923953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DC2CB291-AAE3-4BBC-9E30-B7C837EC841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79535" y="1270591"/>
            <a:ext cx="4625161" cy="2923952"/>
          </a:xfrm>
          <a:prstGeom prst="rect">
            <a:avLst/>
          </a:prstGeom>
        </p:spPr>
      </p:pic>
      <p:sp>
        <p:nvSpPr>
          <p:cNvPr id="23" name="Rechteck 22">
            <a:extLst>
              <a:ext uri="{FF2B5EF4-FFF2-40B4-BE49-F238E27FC236}">
                <a16:creationId xmlns:a16="http://schemas.microsoft.com/office/drawing/2014/main" id="{15B0729B-B804-4E53-9C72-E6E42337E014}"/>
              </a:ext>
            </a:extLst>
          </p:cNvPr>
          <p:cNvSpPr/>
          <p:nvPr/>
        </p:nvSpPr>
        <p:spPr bwMode="gray">
          <a:xfrm rot="1554081">
            <a:off x="3770039" y="2291309"/>
            <a:ext cx="5550945" cy="1897556"/>
          </a:xfrm>
          <a:prstGeom prst="rect">
            <a:avLst/>
          </a:prstGeom>
          <a:solidFill>
            <a:schemeClr val="bg1">
              <a:alpha val="71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b="1" dirty="0">
                <a:solidFill>
                  <a:srgbClr val="FF0000"/>
                </a:solidFill>
                <a:cs typeface="Arial" charset="0"/>
              </a:rPr>
              <a:t>Aktualisieren !</a:t>
            </a:r>
            <a:endParaRPr lang="en-US" sz="3600" b="1" dirty="0" err="1">
              <a:solidFill>
                <a:srgbClr val="FF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8460108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4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775776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ist das spiel aufgebaut? – Trainings-daten</a:t>
            </a:r>
            <a:r>
              <a:rPr lang="de-DE" sz="2400" dirty="0">
                <a:cs typeface="TeleGrotesk Next Ultra" pitchFamily="2" charset="0"/>
              </a:rPr>
              <a:t>	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6DA8F9C-EDEB-4AA1-A350-6848E68002C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9690" y="722169"/>
            <a:ext cx="3245693" cy="613583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245A5DC-BB65-43F5-A5AF-4093AE3E9FC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84" y="1385546"/>
            <a:ext cx="3863859" cy="379922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F9F2E53-C672-4B1A-8B07-68E8814003F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0763" y="1055937"/>
            <a:ext cx="5110318" cy="2676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21711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5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775776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ist das spiel aufgebaut?- Daten sammeln</a:t>
            </a:r>
            <a:r>
              <a:rPr lang="de-DE" sz="2400" dirty="0">
                <a:cs typeface="TeleGrotesk Next Ultra" pitchFamily="2" charset="0"/>
              </a:rPr>
              <a:t>	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CED9545-5951-4CFF-AFC2-FFA137584D5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989" y="1055937"/>
            <a:ext cx="1678676" cy="1284438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F5063FC4-4F25-47C7-BA77-2CF2CF995454}"/>
              </a:ext>
            </a:extLst>
          </p:cNvPr>
          <p:cNvGrpSpPr/>
          <p:nvPr/>
        </p:nvGrpSpPr>
        <p:grpSpPr>
          <a:xfrm>
            <a:off x="6696768" y="1185041"/>
            <a:ext cx="5021666" cy="2551327"/>
            <a:chOff x="6669336" y="1185041"/>
            <a:chExt cx="5021666" cy="2551327"/>
          </a:xfrm>
        </p:grpSpPr>
        <p:pic>
          <p:nvPicPr>
            <p:cNvPr id="7" name="Picture 2" descr="Bildergebnis fÃ¼r Calliope">
              <a:extLst>
                <a:ext uri="{FF2B5EF4-FFF2-40B4-BE49-F238E27FC236}">
                  <a16:creationId xmlns:a16="http://schemas.microsoft.com/office/drawing/2014/main" id="{00387938-3DB5-4695-93B3-13F2DF781D6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598" t="38000"/>
            <a:stretch/>
          </p:blipFill>
          <p:spPr bwMode="auto">
            <a:xfrm rot="15101830">
              <a:off x="6754770" y="1099607"/>
              <a:ext cx="2156991" cy="23278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12" descr="XMG CORE 17 Gaming Laptop ">
              <a:extLst>
                <a:ext uri="{FF2B5EF4-FFF2-40B4-BE49-F238E27FC236}">
                  <a16:creationId xmlns:a16="http://schemas.microsoft.com/office/drawing/2014/main" id="{069D008B-9AB6-4B60-AB0A-27AD189EAD4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 r="-543"/>
            <a:stretch/>
          </p:blipFill>
          <p:spPr bwMode="auto">
            <a:xfrm>
              <a:off x="8035480" y="1282001"/>
              <a:ext cx="3655522" cy="24543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33478618-D381-42EF-BA04-F1D7F3A9A7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544429" y="1476375"/>
              <a:ext cx="2516475" cy="1532639"/>
            </a:xfrm>
            <a:prstGeom prst="rect">
              <a:avLst/>
            </a:prstGeom>
          </p:spPr>
        </p:pic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AD0295A-E832-4FA2-89CB-4996E247FA10}"/>
              </a:ext>
            </a:extLst>
          </p:cNvPr>
          <p:cNvGrpSpPr/>
          <p:nvPr/>
        </p:nvGrpSpPr>
        <p:grpSpPr>
          <a:xfrm rot="3574858">
            <a:off x="3862589" y="1081145"/>
            <a:ext cx="2238911" cy="2184728"/>
            <a:chOff x="3848986" y="1244272"/>
            <a:chExt cx="2238911" cy="2184728"/>
          </a:xfrm>
        </p:grpSpPr>
        <p:sp>
          <p:nvSpPr>
            <p:cNvPr id="5" name="Bogen 4">
              <a:extLst>
                <a:ext uri="{FF2B5EF4-FFF2-40B4-BE49-F238E27FC236}">
                  <a16:creationId xmlns:a16="http://schemas.microsoft.com/office/drawing/2014/main" id="{2FF3FD46-45A9-4A7B-8589-4DAFB0627F54}"/>
                </a:ext>
              </a:extLst>
            </p:cNvPr>
            <p:cNvSpPr/>
            <p:nvPr/>
          </p:nvSpPr>
          <p:spPr>
            <a:xfrm>
              <a:off x="3848986" y="1698157"/>
              <a:ext cx="1840614" cy="1730843"/>
            </a:xfrm>
            <a:prstGeom prst="arc">
              <a:avLst>
                <a:gd name="adj1" fmla="val 17302820"/>
                <a:gd name="adj2" fmla="val 21392540"/>
              </a:avLst>
            </a:prstGeom>
            <a:ln w="101600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F3019289-6C08-46DC-A506-BF4726CEC976}"/>
                </a:ext>
              </a:extLst>
            </p:cNvPr>
            <p:cNvGrpSpPr/>
            <p:nvPr/>
          </p:nvGrpSpPr>
          <p:grpSpPr>
            <a:xfrm>
              <a:off x="4053291" y="1244272"/>
              <a:ext cx="2034606" cy="1977236"/>
              <a:chOff x="4053291" y="1244272"/>
              <a:chExt cx="2034606" cy="1977236"/>
            </a:xfrm>
          </p:grpSpPr>
          <p:sp>
            <p:nvSpPr>
              <p:cNvPr id="15" name="Bogen 14">
                <a:extLst>
                  <a:ext uri="{FF2B5EF4-FFF2-40B4-BE49-F238E27FC236}">
                    <a16:creationId xmlns:a16="http://schemas.microsoft.com/office/drawing/2014/main" id="{8F52AE7A-847C-4525-8553-415560BB2F2A}"/>
                  </a:ext>
                </a:extLst>
              </p:cNvPr>
              <p:cNvSpPr/>
              <p:nvPr/>
            </p:nvSpPr>
            <p:spPr>
              <a:xfrm>
                <a:off x="4053291" y="1490665"/>
                <a:ext cx="1840614" cy="1730843"/>
              </a:xfrm>
              <a:prstGeom prst="arc">
                <a:avLst>
                  <a:gd name="adj1" fmla="val 17912175"/>
                  <a:gd name="adj2" fmla="val 20733184"/>
                </a:avLst>
              </a:prstGeom>
              <a:ln w="101600">
                <a:solidFill>
                  <a:schemeClr val="bg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Bogen 15">
                <a:extLst>
                  <a:ext uri="{FF2B5EF4-FFF2-40B4-BE49-F238E27FC236}">
                    <a16:creationId xmlns:a16="http://schemas.microsoft.com/office/drawing/2014/main" id="{0A0F4574-DC91-47D8-AF58-8FE37F2F2DC2}"/>
                  </a:ext>
                </a:extLst>
              </p:cNvPr>
              <p:cNvSpPr/>
              <p:nvPr/>
            </p:nvSpPr>
            <p:spPr>
              <a:xfrm>
                <a:off x="4247283" y="1244273"/>
                <a:ext cx="1840614" cy="1730843"/>
              </a:xfrm>
              <a:prstGeom prst="arc">
                <a:avLst>
                  <a:gd name="adj1" fmla="val 18774707"/>
                  <a:gd name="adj2" fmla="val 20370577"/>
                </a:avLst>
              </a:prstGeom>
              <a:ln w="101600">
                <a:solidFill>
                  <a:schemeClr val="bg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8" name="Grafik 7">
            <a:extLst>
              <a:ext uri="{FF2B5EF4-FFF2-40B4-BE49-F238E27FC236}">
                <a16:creationId xmlns:a16="http://schemas.microsoft.com/office/drawing/2014/main" id="{DDF8D4C8-76A6-43DE-ACD4-5021DCE5CEA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92757" y="4321331"/>
            <a:ext cx="2626246" cy="1511144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B9A3B64-3735-4BFD-924F-A65B1C4CAEF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3269" y="1985552"/>
            <a:ext cx="1248356" cy="955179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86792F88-8A82-4ADD-924A-2372EA46BD4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34816" y="1440234"/>
            <a:ext cx="1526276" cy="1167829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A6BA8EF7-8299-44CE-A306-BD3EAF8F0ED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07948" y="2858119"/>
            <a:ext cx="1248356" cy="955179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3C78CE88-0DB0-4C1B-AEB4-735B9F9FEE4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472" y="2567113"/>
            <a:ext cx="1248356" cy="955179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5B4AF8BB-9ECF-4FC6-B2BC-92C3DA53925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0918" y="3749030"/>
            <a:ext cx="5828116" cy="2423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4436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6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Trainingsphase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5" name="Pfeil: Chevron 4">
            <a:extLst>
              <a:ext uri="{FF2B5EF4-FFF2-40B4-BE49-F238E27FC236}">
                <a16:creationId xmlns:a16="http://schemas.microsoft.com/office/drawing/2014/main" id="{CECC05C4-122F-42CC-95EC-6D64F8EEA45D}"/>
              </a:ext>
            </a:extLst>
          </p:cNvPr>
          <p:cNvSpPr/>
          <p:nvPr/>
        </p:nvSpPr>
        <p:spPr bwMode="gray">
          <a:xfrm>
            <a:off x="323850" y="1476375"/>
            <a:ext cx="9421729" cy="1218390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200" b="1" u="sng" dirty="0">
                <a:cs typeface="Arial" charset="0"/>
              </a:rPr>
              <a:t>Lange Spielen </a:t>
            </a:r>
            <a:r>
              <a:rPr lang="de-DE" sz="3200" b="1" dirty="0">
                <a:cs typeface="Arial" charset="0"/>
              </a:rPr>
              <a:t>um viele Trainingsdaten zu erzeugen.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4B0D6123-1570-48E4-8ACE-A16693EB0581}"/>
              </a:ext>
            </a:extLst>
          </p:cNvPr>
          <p:cNvSpPr/>
          <p:nvPr/>
        </p:nvSpPr>
        <p:spPr bwMode="gray">
          <a:xfrm>
            <a:off x="1058777" y="1033839"/>
            <a:ext cx="565485" cy="62564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b="1" dirty="0">
                <a:cs typeface="Arial" charset="0"/>
              </a:rPr>
              <a:t>1</a:t>
            </a:r>
            <a:endParaRPr lang="en-US" sz="3600" b="1" dirty="0" err="1">
              <a:cs typeface="Arial" charset="0"/>
            </a:endParaRPr>
          </a:p>
        </p:txBody>
      </p:sp>
      <p:pic>
        <p:nvPicPr>
          <p:cNvPr id="50" name="Grafik 49">
            <a:extLst>
              <a:ext uri="{FF2B5EF4-FFF2-40B4-BE49-F238E27FC236}">
                <a16:creationId xmlns:a16="http://schemas.microsoft.com/office/drawing/2014/main" id="{F192D61B-8A97-4DA5-B02E-6809326FAB4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4350"/>
          <a:stretch/>
        </p:blipFill>
        <p:spPr>
          <a:xfrm>
            <a:off x="2224770" y="2793248"/>
            <a:ext cx="2324263" cy="20430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5E73244-9B7C-496F-8C24-14509EF6B7C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4350"/>
          <a:stretch/>
        </p:blipFill>
        <p:spPr>
          <a:xfrm>
            <a:off x="316421" y="3537592"/>
            <a:ext cx="2324263" cy="20430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3A4419B3-3765-4B8B-830C-6E021C7EB3C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4350"/>
          <a:stretch/>
        </p:blipFill>
        <p:spPr>
          <a:xfrm>
            <a:off x="3365337" y="4104707"/>
            <a:ext cx="2324263" cy="20430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D932939E-CE80-44A9-AC37-3C0FF547067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4350"/>
          <a:stretch/>
        </p:blipFill>
        <p:spPr>
          <a:xfrm>
            <a:off x="5475045" y="2900558"/>
            <a:ext cx="2324263" cy="20430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116A4E4-3C55-4BB1-99C2-5E9D546625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4350"/>
          <a:stretch/>
        </p:blipFill>
        <p:spPr>
          <a:xfrm>
            <a:off x="7951708" y="3150885"/>
            <a:ext cx="2324263" cy="20430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4B06FA69-94FF-4760-8B98-2335D637A5C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4350"/>
          <a:stretch/>
        </p:blipFill>
        <p:spPr>
          <a:xfrm>
            <a:off x="6502402" y="4104707"/>
            <a:ext cx="2324263" cy="20430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4127114261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899701A-1924-4415-A4C7-E1A6F2ABDA3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3840" y="1476375"/>
            <a:ext cx="4389120" cy="429768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1795529-BCEE-4E3E-8BC7-484E64F780E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959" y="1515110"/>
            <a:ext cx="4226453" cy="422021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317D7D08-571E-4974-B49C-4AF42EF77E3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3850" y="323850"/>
            <a:ext cx="1626870" cy="651438"/>
          </a:xfrm>
          <a:prstGeom prst="rect">
            <a:avLst/>
          </a:prstGeom>
        </p:spPr>
      </p:pic>
      <p:sp>
        <p:nvSpPr>
          <p:cNvPr id="7" name="Foliennummernplatzhalter 1">
            <a:extLst>
              <a:ext uri="{FF2B5EF4-FFF2-40B4-BE49-F238E27FC236}">
                <a16:creationId xmlns:a16="http://schemas.microsoft.com/office/drawing/2014/main" id="{ED66EE87-2B9B-43F8-B95F-8CF362675A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5708554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8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Anlern- Testphase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6" name="Pfeil: Chevron 5">
            <a:extLst>
              <a:ext uri="{FF2B5EF4-FFF2-40B4-BE49-F238E27FC236}">
                <a16:creationId xmlns:a16="http://schemas.microsoft.com/office/drawing/2014/main" id="{CBA75A7D-CA09-49D4-A770-E97EA8DDAD95}"/>
              </a:ext>
            </a:extLst>
          </p:cNvPr>
          <p:cNvSpPr/>
          <p:nvPr/>
        </p:nvSpPr>
        <p:spPr bwMode="gray">
          <a:xfrm>
            <a:off x="379059" y="1476376"/>
            <a:ext cx="9318394" cy="1210264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200" b="1" dirty="0">
                <a:cs typeface="Arial" charset="0"/>
              </a:rPr>
              <a:t>Eigenes Auto durch das Neuronale Netz </a:t>
            </a:r>
            <a:br>
              <a:rPr lang="de-DE" sz="3200" b="1" dirty="0">
                <a:cs typeface="Arial" charset="0"/>
              </a:rPr>
            </a:br>
            <a:r>
              <a:rPr lang="de-DE" sz="3200" b="1" u="sng" dirty="0">
                <a:cs typeface="Arial" charset="0"/>
              </a:rPr>
              <a:t>Anlernen und Testen</a:t>
            </a:r>
            <a:r>
              <a:rPr lang="de-DE" sz="3200" b="1" dirty="0">
                <a:cs typeface="Arial" charset="0"/>
              </a:rPr>
              <a:t>. 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EBF94CC-BC25-4B81-8AD0-FA5725E4DE9C}"/>
              </a:ext>
            </a:extLst>
          </p:cNvPr>
          <p:cNvSpPr/>
          <p:nvPr/>
        </p:nvSpPr>
        <p:spPr bwMode="gray">
          <a:xfrm>
            <a:off x="1111528" y="1081136"/>
            <a:ext cx="565485" cy="62564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b="1" dirty="0">
                <a:cs typeface="Arial" charset="0"/>
              </a:rPr>
              <a:t>2</a:t>
            </a:r>
            <a:endParaRPr lang="en-US" sz="3600" b="1" dirty="0" err="1">
              <a:cs typeface="Arial" charset="0"/>
            </a:endParaRP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2A1C015D-F73F-4E68-9F78-39A457D09DDE}"/>
              </a:ext>
            </a:extLst>
          </p:cNvPr>
          <p:cNvGrpSpPr/>
          <p:nvPr/>
        </p:nvGrpSpPr>
        <p:grpSpPr>
          <a:xfrm>
            <a:off x="4288688" y="2583505"/>
            <a:ext cx="3087574" cy="3499389"/>
            <a:chOff x="5075717" y="3182595"/>
            <a:chExt cx="1593985" cy="2746135"/>
          </a:xfrm>
        </p:grpSpPr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2B0A1F0B-E076-4A3A-81C0-1779E66165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721"/>
            <a:stretch/>
          </p:blipFill>
          <p:spPr>
            <a:xfrm>
              <a:off x="5075717" y="3182595"/>
              <a:ext cx="1593985" cy="2746135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152400" dist="12000" dir="900000" sy="98000" kx="110000" ky="200000" algn="tl" rotWithShape="0">
                <a:srgbClr val="000000">
                  <a:alpha val="30000"/>
                </a:srgbClr>
              </a:outerShdw>
            </a:effectLst>
            <a:scene3d>
              <a:camera prst="perspectiveRelaxed">
                <a:rot lat="19800000" lon="1200000" rev="20820000"/>
              </a:camera>
              <a:lightRig rig="threePt" dir="t"/>
            </a:scene3d>
            <a:sp3d contourW="6350" prstMaterial="matte">
              <a:bevelT w="101600" h="101600"/>
              <a:contourClr>
                <a:srgbClr val="969696"/>
              </a:contourClr>
            </a:sp3d>
          </p:spPr>
        </p:pic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8352DB3C-7577-4198-8039-6CDB46718C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4737857">
              <a:off x="5128368" y="4046437"/>
              <a:ext cx="1657401" cy="971057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</p:grpSp>
    </p:spTree>
    <p:extLst>
      <p:ext uri="{BB962C8B-B14F-4D97-AF65-F5344CB8AC3E}">
        <p14:creationId xmlns:p14="http://schemas.microsoft.com/office/powerpoint/2010/main" val="1407210395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7EE0AD75-0779-43AB-8834-DB02796A131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043" y="1171575"/>
            <a:ext cx="3982720" cy="349504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E19B328-79F2-4A17-830E-CD03C12DD0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043" y="323850"/>
            <a:ext cx="3398891" cy="52959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0C71003-6ACD-4F37-8BC3-593E0342BF9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37250" y="1800127"/>
            <a:ext cx="7991552" cy="2512256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8627EAD4-DE31-46CA-862E-3B78CAC0C222}"/>
              </a:ext>
            </a:extLst>
          </p:cNvPr>
          <p:cNvSpPr txBox="1"/>
          <p:nvPr/>
        </p:nvSpPr>
        <p:spPr bwMode="gray">
          <a:xfrm>
            <a:off x="4510170" y="3200948"/>
            <a:ext cx="44196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In die </a:t>
            </a:r>
            <a:r>
              <a:rPr lang="en-US" sz="2400" dirty="0" err="1">
                <a:solidFill>
                  <a:schemeClr val="bg1"/>
                </a:solidFill>
              </a:rPr>
              <a:t>Kommandozeile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eingeben</a:t>
            </a:r>
            <a:r>
              <a:rPr lang="en-US" sz="2400" dirty="0">
                <a:solidFill>
                  <a:schemeClr val="bg1"/>
                </a:solidFill>
              </a:rPr>
              <a:t> um schwarz/</a:t>
            </a:r>
            <a:r>
              <a:rPr lang="en-US" sz="2400" dirty="0" err="1">
                <a:solidFill>
                  <a:schemeClr val="bg1"/>
                </a:solidFill>
              </a:rPr>
              <a:t>grü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einzustellen</a:t>
            </a:r>
            <a:r>
              <a:rPr lang="en-US" sz="2400" dirty="0">
                <a:solidFill>
                  <a:schemeClr val="bg1"/>
                </a:solidFill>
              </a:rPr>
              <a:t>:</a:t>
            </a:r>
          </a:p>
          <a:p>
            <a:r>
              <a:rPr lang="en-US" sz="2400" dirty="0">
                <a:solidFill>
                  <a:schemeClr val="bg1"/>
                </a:solidFill>
              </a:rPr>
              <a:t>“color 0a”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7B204DA-4434-492B-B7E9-810A3BA6171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37249" y="4287585"/>
            <a:ext cx="7991553" cy="1966069"/>
          </a:xfrm>
          <a:prstGeom prst="rect">
            <a:avLst/>
          </a:prstGeom>
        </p:spPr>
      </p:pic>
      <p:sp>
        <p:nvSpPr>
          <p:cNvPr id="11" name="Foliennummernplatzhalter 1">
            <a:extLst>
              <a:ext uri="{FF2B5EF4-FFF2-40B4-BE49-F238E27FC236}">
                <a16:creationId xmlns:a16="http://schemas.microsoft.com/office/drawing/2014/main" id="{C496AEBF-B771-411F-894B-49CAE37460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735690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08562BB8-D635-47AE-BDD4-C0977EA5C7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</a:t>
            </a:fld>
            <a:endParaRPr lang="en-US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BEDE48B8-EA2A-4BC7-A65B-2BE7838E820C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052639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funktioniert Unser </a:t>
            </a:r>
            <a:r>
              <a:rPr lang="de-DE" sz="4000" dirty="0" err="1">
                <a:solidFill>
                  <a:schemeClr val="bg1"/>
                </a:solidFill>
              </a:rPr>
              <a:t>gehirn</a:t>
            </a:r>
            <a:r>
              <a:rPr lang="de-DE" sz="4000" dirty="0">
                <a:solidFill>
                  <a:schemeClr val="bg1"/>
                </a:solidFill>
              </a:rPr>
              <a:t>?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C64CB31-1543-4120-BF6B-FBA75717DF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750" y="2272011"/>
            <a:ext cx="2770706" cy="291259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9D4B324-8DA9-4288-A09D-1E003399B70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4147" y="2372298"/>
            <a:ext cx="1806990" cy="2812311"/>
          </a:xfrm>
          <a:prstGeom prst="rect">
            <a:avLst/>
          </a:prstGeom>
        </p:spPr>
      </p:pic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AD4D2FE-BECD-45F2-A84C-DE5071DF7297}"/>
              </a:ext>
            </a:extLst>
          </p:cNvPr>
          <p:cNvCxnSpPr>
            <a:cxnSpLocks/>
          </p:cNvCxnSpPr>
          <p:nvPr/>
        </p:nvCxnSpPr>
        <p:spPr>
          <a:xfrm>
            <a:off x="1744066" y="2409020"/>
            <a:ext cx="3393706" cy="1831786"/>
          </a:xfrm>
          <a:prstGeom prst="line">
            <a:avLst/>
          </a:prstGeom>
          <a:ln w="60325">
            <a:solidFill>
              <a:srgbClr val="FFFF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EC88597-FD7C-4B1B-A0AC-0FE0E34E0A86}"/>
              </a:ext>
            </a:extLst>
          </p:cNvPr>
          <p:cNvCxnSpPr>
            <a:cxnSpLocks/>
          </p:cNvCxnSpPr>
          <p:nvPr/>
        </p:nvCxnSpPr>
        <p:spPr>
          <a:xfrm flipV="1">
            <a:off x="1960937" y="3824642"/>
            <a:ext cx="3176835" cy="1359967"/>
          </a:xfrm>
          <a:prstGeom prst="line">
            <a:avLst/>
          </a:prstGeom>
          <a:ln w="60325">
            <a:solidFill>
              <a:srgbClr val="FFFF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1885466B-D0C7-40E9-A73E-532B60C8C11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05827" y="1462865"/>
            <a:ext cx="4803085" cy="4693460"/>
          </a:xfrm>
          <a:prstGeom prst="rect">
            <a:avLst/>
          </a:prstGeom>
        </p:spPr>
      </p:pic>
      <p:sp>
        <p:nvSpPr>
          <p:cNvPr id="41" name="Bogen 40">
            <a:extLst>
              <a:ext uri="{FF2B5EF4-FFF2-40B4-BE49-F238E27FC236}">
                <a16:creationId xmlns:a16="http://schemas.microsoft.com/office/drawing/2014/main" id="{6067A13E-0249-48A0-AF23-FC7EA556646A}"/>
              </a:ext>
            </a:extLst>
          </p:cNvPr>
          <p:cNvSpPr/>
          <p:nvPr/>
        </p:nvSpPr>
        <p:spPr>
          <a:xfrm rot="1941079">
            <a:off x="4629133" y="3648188"/>
            <a:ext cx="703678" cy="963440"/>
          </a:xfrm>
          <a:prstGeom prst="arc">
            <a:avLst/>
          </a:prstGeom>
          <a:ln w="111125">
            <a:solidFill>
              <a:schemeClr val="accent6">
                <a:lumMod val="75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385" name="Gruppieren 16384">
            <a:extLst>
              <a:ext uri="{FF2B5EF4-FFF2-40B4-BE49-F238E27FC236}">
                <a16:creationId xmlns:a16="http://schemas.microsoft.com/office/drawing/2014/main" id="{7F5BC6C7-7E8F-4F0E-A760-43A62C3406F4}"/>
              </a:ext>
            </a:extLst>
          </p:cNvPr>
          <p:cNvGrpSpPr/>
          <p:nvPr/>
        </p:nvGrpSpPr>
        <p:grpSpPr>
          <a:xfrm>
            <a:off x="5249176" y="3205853"/>
            <a:ext cx="3128688" cy="1256009"/>
            <a:chOff x="5249176" y="3205853"/>
            <a:chExt cx="3128688" cy="1256009"/>
          </a:xfrm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74DEAD77-E8A2-4C84-AE53-D8D16286CDDB}"/>
                </a:ext>
              </a:extLst>
            </p:cNvPr>
            <p:cNvGrpSpPr/>
            <p:nvPr/>
          </p:nvGrpSpPr>
          <p:grpSpPr>
            <a:xfrm rot="8325651">
              <a:off x="5275422" y="3781013"/>
              <a:ext cx="502300" cy="333003"/>
              <a:chOff x="5592726" y="3076468"/>
              <a:chExt cx="628635" cy="272204"/>
            </a:xfrm>
          </p:grpSpPr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4D435EC5-C40F-417E-9DD3-DD1BE348B27F}"/>
                  </a:ext>
                </a:extLst>
              </p:cNvPr>
              <p:cNvSpPr/>
              <p:nvPr/>
            </p:nvSpPr>
            <p:spPr bwMode="gray">
              <a:xfrm>
                <a:off x="5592726" y="3216349"/>
                <a:ext cx="563889" cy="132323"/>
              </a:xfrm>
              <a:custGeom>
                <a:avLst/>
                <a:gdLst>
                  <a:gd name="connsiteX0" fmla="*/ 0 w 446567"/>
                  <a:gd name="connsiteY0" fmla="*/ 0 h 191386"/>
                  <a:gd name="connsiteX1" fmla="*/ 239232 w 446567"/>
                  <a:gd name="connsiteY1" fmla="*/ 101009 h 191386"/>
                  <a:gd name="connsiteX2" fmla="*/ 377456 w 446567"/>
                  <a:gd name="connsiteY2" fmla="*/ 53163 h 191386"/>
                  <a:gd name="connsiteX3" fmla="*/ 446567 w 446567"/>
                  <a:gd name="connsiteY3" fmla="*/ 191386 h 191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567" h="191386">
                    <a:moveTo>
                      <a:pt x="0" y="0"/>
                    </a:moveTo>
                    <a:cubicBezTo>
                      <a:pt x="88161" y="46074"/>
                      <a:pt x="176323" y="92149"/>
                      <a:pt x="239232" y="101009"/>
                    </a:cubicBezTo>
                    <a:cubicBezTo>
                      <a:pt x="302141" y="109869"/>
                      <a:pt x="342900" y="38100"/>
                      <a:pt x="377456" y="53163"/>
                    </a:cubicBezTo>
                    <a:cubicBezTo>
                      <a:pt x="412012" y="68226"/>
                      <a:pt x="411125" y="164805"/>
                      <a:pt x="446567" y="191386"/>
                    </a:cubicBezTo>
                  </a:path>
                </a:pathLst>
              </a:custGeom>
              <a:noFill/>
              <a:ln w="381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281C6DCE-226B-4D94-8FB3-A34E6829B807}"/>
                  </a:ext>
                </a:extLst>
              </p:cNvPr>
              <p:cNvSpPr/>
              <p:nvPr/>
            </p:nvSpPr>
            <p:spPr bwMode="gray">
              <a:xfrm rot="1266377" flipH="1">
                <a:off x="5668312" y="3144395"/>
                <a:ext cx="446567" cy="191386"/>
              </a:xfrm>
              <a:custGeom>
                <a:avLst/>
                <a:gdLst>
                  <a:gd name="connsiteX0" fmla="*/ 0 w 446567"/>
                  <a:gd name="connsiteY0" fmla="*/ 0 h 191386"/>
                  <a:gd name="connsiteX1" fmla="*/ 239232 w 446567"/>
                  <a:gd name="connsiteY1" fmla="*/ 101009 h 191386"/>
                  <a:gd name="connsiteX2" fmla="*/ 377456 w 446567"/>
                  <a:gd name="connsiteY2" fmla="*/ 53163 h 191386"/>
                  <a:gd name="connsiteX3" fmla="*/ 446567 w 446567"/>
                  <a:gd name="connsiteY3" fmla="*/ 191386 h 191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567" h="191386">
                    <a:moveTo>
                      <a:pt x="0" y="0"/>
                    </a:moveTo>
                    <a:cubicBezTo>
                      <a:pt x="88161" y="46074"/>
                      <a:pt x="176323" y="92149"/>
                      <a:pt x="239232" y="101009"/>
                    </a:cubicBezTo>
                    <a:cubicBezTo>
                      <a:pt x="302141" y="109869"/>
                      <a:pt x="342900" y="38100"/>
                      <a:pt x="377456" y="53163"/>
                    </a:cubicBezTo>
                    <a:cubicBezTo>
                      <a:pt x="412012" y="68226"/>
                      <a:pt x="411125" y="164805"/>
                      <a:pt x="446567" y="191386"/>
                    </a:cubicBezTo>
                  </a:path>
                </a:pathLst>
              </a:custGeom>
              <a:noFill/>
              <a:ln w="381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0C205530-7577-40E7-828B-EC6145565727}"/>
                  </a:ext>
                </a:extLst>
              </p:cNvPr>
              <p:cNvSpPr/>
              <p:nvPr/>
            </p:nvSpPr>
            <p:spPr bwMode="gray">
              <a:xfrm rot="19591706">
                <a:off x="5706296" y="3076468"/>
                <a:ext cx="515065" cy="249653"/>
              </a:xfrm>
              <a:custGeom>
                <a:avLst/>
                <a:gdLst>
                  <a:gd name="connsiteX0" fmla="*/ 0 w 446567"/>
                  <a:gd name="connsiteY0" fmla="*/ 0 h 191386"/>
                  <a:gd name="connsiteX1" fmla="*/ 239232 w 446567"/>
                  <a:gd name="connsiteY1" fmla="*/ 101009 h 191386"/>
                  <a:gd name="connsiteX2" fmla="*/ 377456 w 446567"/>
                  <a:gd name="connsiteY2" fmla="*/ 53163 h 191386"/>
                  <a:gd name="connsiteX3" fmla="*/ 446567 w 446567"/>
                  <a:gd name="connsiteY3" fmla="*/ 191386 h 191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567" h="191386">
                    <a:moveTo>
                      <a:pt x="0" y="0"/>
                    </a:moveTo>
                    <a:cubicBezTo>
                      <a:pt x="88161" y="46074"/>
                      <a:pt x="176323" y="92149"/>
                      <a:pt x="239232" y="101009"/>
                    </a:cubicBezTo>
                    <a:cubicBezTo>
                      <a:pt x="302141" y="109869"/>
                      <a:pt x="342900" y="38100"/>
                      <a:pt x="377456" y="53163"/>
                    </a:cubicBezTo>
                    <a:cubicBezTo>
                      <a:pt x="412012" y="68226"/>
                      <a:pt x="411125" y="164805"/>
                      <a:pt x="446567" y="191386"/>
                    </a:cubicBezTo>
                  </a:path>
                </a:pathLst>
              </a:custGeom>
              <a:noFill/>
              <a:ln w="381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6384" name="Gruppieren 16383">
              <a:extLst>
                <a:ext uri="{FF2B5EF4-FFF2-40B4-BE49-F238E27FC236}">
                  <a16:creationId xmlns:a16="http://schemas.microsoft.com/office/drawing/2014/main" id="{DFA28A86-D51F-4DF0-BD51-77EAFE383898}"/>
                </a:ext>
              </a:extLst>
            </p:cNvPr>
            <p:cNvGrpSpPr/>
            <p:nvPr/>
          </p:nvGrpSpPr>
          <p:grpSpPr>
            <a:xfrm>
              <a:off x="5249176" y="3205853"/>
              <a:ext cx="3128688" cy="1256009"/>
              <a:chOff x="5249176" y="3205853"/>
              <a:chExt cx="3128688" cy="1256009"/>
            </a:xfrm>
          </p:grpSpPr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9D03AF26-1094-40A0-A7A2-5F1E88FC2C9B}"/>
                  </a:ext>
                </a:extLst>
              </p:cNvPr>
              <p:cNvGrpSpPr/>
              <p:nvPr/>
            </p:nvGrpSpPr>
            <p:grpSpPr>
              <a:xfrm rot="10438633">
                <a:off x="5364505" y="4093730"/>
                <a:ext cx="467475" cy="368132"/>
                <a:chOff x="5592728" y="3076468"/>
                <a:chExt cx="628633" cy="280058"/>
              </a:xfrm>
            </p:grpSpPr>
            <p:sp>
              <p:nvSpPr>
                <p:cNvPr id="43" name="Freihandform: Form 42">
                  <a:extLst>
                    <a:ext uri="{FF2B5EF4-FFF2-40B4-BE49-F238E27FC236}">
                      <a16:creationId xmlns:a16="http://schemas.microsoft.com/office/drawing/2014/main" id="{2DC9588E-DB8C-4FA5-B745-D618CC6DB6EF}"/>
                    </a:ext>
                  </a:extLst>
                </p:cNvPr>
                <p:cNvSpPr/>
                <p:nvPr/>
              </p:nvSpPr>
              <p:spPr bwMode="gray">
                <a:xfrm>
                  <a:off x="5592728" y="3216349"/>
                  <a:ext cx="626398" cy="140177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0" name="Freihandform: Form 49">
                  <a:extLst>
                    <a:ext uri="{FF2B5EF4-FFF2-40B4-BE49-F238E27FC236}">
                      <a16:creationId xmlns:a16="http://schemas.microsoft.com/office/drawing/2014/main" id="{279DE5CB-5363-49EA-B0E2-91FB3D8C4A39}"/>
                    </a:ext>
                  </a:extLst>
                </p:cNvPr>
                <p:cNvSpPr/>
                <p:nvPr/>
              </p:nvSpPr>
              <p:spPr bwMode="gray">
                <a:xfrm rot="1266377" flipH="1">
                  <a:off x="5659907" y="3173224"/>
                  <a:ext cx="553278" cy="174259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1" name="Freihandform: Form 50">
                  <a:extLst>
                    <a:ext uri="{FF2B5EF4-FFF2-40B4-BE49-F238E27FC236}">
                      <a16:creationId xmlns:a16="http://schemas.microsoft.com/office/drawing/2014/main" id="{A9ECAD34-7AB3-45C1-90C8-B11EFEDB625C}"/>
                    </a:ext>
                  </a:extLst>
                </p:cNvPr>
                <p:cNvSpPr/>
                <p:nvPr/>
              </p:nvSpPr>
              <p:spPr bwMode="gray">
                <a:xfrm rot="19591706">
                  <a:off x="5706296" y="3076468"/>
                  <a:ext cx="515065" cy="249653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6" name="Gruppieren 55">
                <a:extLst>
                  <a:ext uri="{FF2B5EF4-FFF2-40B4-BE49-F238E27FC236}">
                    <a16:creationId xmlns:a16="http://schemas.microsoft.com/office/drawing/2014/main" id="{F98FA16A-60C7-4314-9E31-32E3F00EEB54}"/>
                  </a:ext>
                </a:extLst>
              </p:cNvPr>
              <p:cNvGrpSpPr/>
              <p:nvPr/>
            </p:nvGrpSpPr>
            <p:grpSpPr>
              <a:xfrm rot="9759252">
                <a:off x="5693236" y="3671940"/>
                <a:ext cx="921878" cy="659023"/>
                <a:chOff x="5592726" y="3076468"/>
                <a:chExt cx="691455" cy="320376"/>
              </a:xfrm>
            </p:grpSpPr>
            <p:sp>
              <p:nvSpPr>
                <p:cNvPr id="57" name="Freihandform: Form 56">
                  <a:extLst>
                    <a:ext uri="{FF2B5EF4-FFF2-40B4-BE49-F238E27FC236}">
                      <a16:creationId xmlns:a16="http://schemas.microsoft.com/office/drawing/2014/main" id="{5342FA41-458C-4A5F-AD95-318969390607}"/>
                    </a:ext>
                  </a:extLst>
                </p:cNvPr>
                <p:cNvSpPr/>
                <p:nvPr/>
              </p:nvSpPr>
              <p:spPr bwMode="gray">
                <a:xfrm>
                  <a:off x="5592726" y="3216349"/>
                  <a:ext cx="691455" cy="180495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8" name="Freihandform: Form 57">
                  <a:extLst>
                    <a:ext uri="{FF2B5EF4-FFF2-40B4-BE49-F238E27FC236}">
                      <a16:creationId xmlns:a16="http://schemas.microsoft.com/office/drawing/2014/main" id="{A6F12012-7668-44BA-974E-CA56ACB24AD8}"/>
                    </a:ext>
                  </a:extLst>
                </p:cNvPr>
                <p:cNvSpPr/>
                <p:nvPr/>
              </p:nvSpPr>
              <p:spPr bwMode="gray">
                <a:xfrm rot="1266377" flipH="1">
                  <a:off x="5662727" y="3127574"/>
                  <a:ext cx="583079" cy="162276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9" name="Freihandform: Form 58">
                  <a:extLst>
                    <a:ext uri="{FF2B5EF4-FFF2-40B4-BE49-F238E27FC236}">
                      <a16:creationId xmlns:a16="http://schemas.microsoft.com/office/drawing/2014/main" id="{B6CF0ACC-AC95-4D7A-B571-9583F79CD5C9}"/>
                    </a:ext>
                  </a:extLst>
                </p:cNvPr>
                <p:cNvSpPr/>
                <p:nvPr/>
              </p:nvSpPr>
              <p:spPr bwMode="gray">
                <a:xfrm rot="19591706">
                  <a:off x="5706296" y="3076468"/>
                  <a:ext cx="515065" cy="249653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193AF0B5-0751-4184-A11B-F95322729CEF}"/>
                  </a:ext>
                </a:extLst>
              </p:cNvPr>
              <p:cNvSpPr/>
              <p:nvPr/>
            </p:nvSpPr>
            <p:spPr bwMode="gray">
              <a:xfrm>
                <a:off x="5575194" y="3742225"/>
                <a:ext cx="144000" cy="154726"/>
              </a:xfrm>
              <a:prstGeom prst="ellipse">
                <a:avLst/>
              </a:prstGeom>
              <a:solidFill>
                <a:srgbClr val="92D050"/>
              </a:solidFill>
              <a:ln w="1905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sz="1800" dirty="0" err="1">
                  <a:cs typeface="Arial" charset="0"/>
                </a:endParaRPr>
              </a:p>
            </p:txBody>
          </p:sp>
          <p:sp>
            <p:nvSpPr>
              <p:cNvPr id="61" name="Ellipse 60">
                <a:extLst>
                  <a:ext uri="{FF2B5EF4-FFF2-40B4-BE49-F238E27FC236}">
                    <a16:creationId xmlns:a16="http://schemas.microsoft.com/office/drawing/2014/main" id="{BB584CD2-9F33-4450-9855-3E6288B4F23E}"/>
                  </a:ext>
                </a:extLst>
              </p:cNvPr>
              <p:cNvSpPr/>
              <p:nvPr/>
            </p:nvSpPr>
            <p:spPr bwMode="gray">
              <a:xfrm>
                <a:off x="5714697" y="4157847"/>
                <a:ext cx="144000" cy="154726"/>
              </a:xfrm>
              <a:prstGeom prst="ellipse">
                <a:avLst/>
              </a:prstGeom>
              <a:solidFill>
                <a:srgbClr val="92D050"/>
              </a:solidFill>
              <a:ln w="1905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sz="1800" dirty="0" err="1">
                  <a:cs typeface="Arial" charset="0"/>
                </a:endParaRPr>
              </a:p>
            </p:txBody>
          </p:sp>
          <p:sp>
            <p:nvSpPr>
              <p:cNvPr id="62" name="Ellipse 61">
                <a:extLst>
                  <a:ext uri="{FF2B5EF4-FFF2-40B4-BE49-F238E27FC236}">
                    <a16:creationId xmlns:a16="http://schemas.microsoft.com/office/drawing/2014/main" id="{5165FB56-8B85-4416-AE65-9291E87AA782}"/>
                  </a:ext>
                </a:extLst>
              </p:cNvPr>
              <p:cNvSpPr/>
              <p:nvPr/>
            </p:nvSpPr>
            <p:spPr bwMode="gray">
              <a:xfrm>
                <a:off x="6498849" y="3888024"/>
                <a:ext cx="144000" cy="154726"/>
              </a:xfrm>
              <a:prstGeom prst="ellipse">
                <a:avLst/>
              </a:prstGeom>
              <a:solidFill>
                <a:srgbClr val="92D050"/>
              </a:solidFill>
              <a:ln w="1905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sz="1800" dirty="0" err="1">
                  <a:cs typeface="Arial" charset="0"/>
                </a:endParaRPr>
              </a:p>
            </p:txBody>
          </p:sp>
          <p:grpSp>
            <p:nvGrpSpPr>
              <p:cNvPr id="63" name="Gruppieren 62">
                <a:extLst>
                  <a:ext uri="{FF2B5EF4-FFF2-40B4-BE49-F238E27FC236}">
                    <a16:creationId xmlns:a16="http://schemas.microsoft.com/office/drawing/2014/main" id="{A142BED7-C979-4B3A-B212-BE778D3479E9}"/>
                  </a:ext>
                </a:extLst>
              </p:cNvPr>
              <p:cNvGrpSpPr/>
              <p:nvPr/>
            </p:nvGrpSpPr>
            <p:grpSpPr>
              <a:xfrm rot="8325651">
                <a:off x="5249176" y="3559821"/>
                <a:ext cx="531532" cy="317232"/>
                <a:chOff x="5592725" y="3076468"/>
                <a:chExt cx="665220" cy="259313"/>
              </a:xfrm>
            </p:grpSpPr>
            <p:sp>
              <p:nvSpPr>
                <p:cNvPr id="64" name="Freihandform: Form 63">
                  <a:extLst>
                    <a:ext uri="{FF2B5EF4-FFF2-40B4-BE49-F238E27FC236}">
                      <a16:creationId xmlns:a16="http://schemas.microsoft.com/office/drawing/2014/main" id="{E8030B02-88DD-442E-9689-D97AE8CD1AF2}"/>
                    </a:ext>
                  </a:extLst>
                </p:cNvPr>
                <p:cNvSpPr/>
                <p:nvPr/>
              </p:nvSpPr>
              <p:spPr bwMode="gray">
                <a:xfrm>
                  <a:off x="5592725" y="3216350"/>
                  <a:ext cx="665220" cy="99924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5" name="Freihandform: Form 64">
                  <a:extLst>
                    <a:ext uri="{FF2B5EF4-FFF2-40B4-BE49-F238E27FC236}">
                      <a16:creationId xmlns:a16="http://schemas.microsoft.com/office/drawing/2014/main" id="{9B5FAFA6-350A-4EE9-8DB3-F4AECBB3B74A}"/>
                    </a:ext>
                  </a:extLst>
                </p:cNvPr>
                <p:cNvSpPr/>
                <p:nvPr/>
              </p:nvSpPr>
              <p:spPr bwMode="gray">
                <a:xfrm rot="1266377" flipH="1">
                  <a:off x="5668312" y="3144395"/>
                  <a:ext cx="446567" cy="191386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6" name="Freihandform: Form 65">
                  <a:extLst>
                    <a:ext uri="{FF2B5EF4-FFF2-40B4-BE49-F238E27FC236}">
                      <a16:creationId xmlns:a16="http://schemas.microsoft.com/office/drawing/2014/main" id="{4587B437-D9EF-497A-947F-23813A9C646E}"/>
                    </a:ext>
                  </a:extLst>
                </p:cNvPr>
                <p:cNvSpPr/>
                <p:nvPr/>
              </p:nvSpPr>
              <p:spPr bwMode="gray">
                <a:xfrm rot="19591706">
                  <a:off x="5706296" y="3076468"/>
                  <a:ext cx="515065" cy="249653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7" name="Ellipse 66">
                <a:extLst>
                  <a:ext uri="{FF2B5EF4-FFF2-40B4-BE49-F238E27FC236}">
                    <a16:creationId xmlns:a16="http://schemas.microsoft.com/office/drawing/2014/main" id="{2D0B4612-F58D-4464-8896-580F8952A7D9}"/>
                  </a:ext>
                </a:extLst>
              </p:cNvPr>
              <p:cNvSpPr/>
              <p:nvPr/>
            </p:nvSpPr>
            <p:spPr bwMode="gray">
              <a:xfrm>
                <a:off x="5568845" y="3497782"/>
                <a:ext cx="144000" cy="154726"/>
              </a:xfrm>
              <a:prstGeom prst="ellipse">
                <a:avLst/>
              </a:prstGeom>
              <a:solidFill>
                <a:srgbClr val="92D050"/>
              </a:solidFill>
              <a:ln w="1905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dirty="0" err="1">
                  <a:cs typeface="Arial" charset="0"/>
                </a:endParaRPr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3783358B-8A74-447E-9A61-5CEFCF0751AA}"/>
                  </a:ext>
                </a:extLst>
              </p:cNvPr>
              <p:cNvSpPr/>
              <p:nvPr/>
            </p:nvSpPr>
            <p:spPr bwMode="gray">
              <a:xfrm rot="9759252">
                <a:off x="5640330" y="3440763"/>
                <a:ext cx="902144" cy="218742"/>
              </a:xfrm>
              <a:custGeom>
                <a:avLst/>
                <a:gdLst>
                  <a:gd name="connsiteX0" fmla="*/ 0 w 446567"/>
                  <a:gd name="connsiteY0" fmla="*/ 0 h 191386"/>
                  <a:gd name="connsiteX1" fmla="*/ 239232 w 446567"/>
                  <a:gd name="connsiteY1" fmla="*/ 101009 h 191386"/>
                  <a:gd name="connsiteX2" fmla="*/ 377456 w 446567"/>
                  <a:gd name="connsiteY2" fmla="*/ 53163 h 191386"/>
                  <a:gd name="connsiteX3" fmla="*/ 446567 w 446567"/>
                  <a:gd name="connsiteY3" fmla="*/ 191386 h 191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567" h="191386">
                    <a:moveTo>
                      <a:pt x="0" y="0"/>
                    </a:moveTo>
                    <a:cubicBezTo>
                      <a:pt x="88161" y="46074"/>
                      <a:pt x="176323" y="92149"/>
                      <a:pt x="239232" y="101009"/>
                    </a:cubicBezTo>
                    <a:cubicBezTo>
                      <a:pt x="302141" y="109869"/>
                      <a:pt x="342900" y="38100"/>
                      <a:pt x="377456" y="53163"/>
                    </a:cubicBezTo>
                    <a:cubicBezTo>
                      <a:pt x="412012" y="68226"/>
                      <a:pt x="411125" y="164805"/>
                      <a:pt x="446567" y="191386"/>
                    </a:cubicBezTo>
                  </a:path>
                </a:pathLst>
              </a:custGeom>
              <a:noFill/>
              <a:ln w="381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5EA840EC-FBC9-4B01-A2E2-52D478F3ECA3}"/>
                  </a:ext>
                </a:extLst>
              </p:cNvPr>
              <p:cNvSpPr/>
              <p:nvPr/>
            </p:nvSpPr>
            <p:spPr bwMode="gray">
              <a:xfrm rot="9759252" flipV="1">
                <a:off x="5598689" y="3658203"/>
                <a:ext cx="963758" cy="50627"/>
              </a:xfrm>
              <a:custGeom>
                <a:avLst/>
                <a:gdLst>
                  <a:gd name="connsiteX0" fmla="*/ 0 w 446567"/>
                  <a:gd name="connsiteY0" fmla="*/ 0 h 191386"/>
                  <a:gd name="connsiteX1" fmla="*/ 239232 w 446567"/>
                  <a:gd name="connsiteY1" fmla="*/ 101009 h 191386"/>
                  <a:gd name="connsiteX2" fmla="*/ 377456 w 446567"/>
                  <a:gd name="connsiteY2" fmla="*/ 53163 h 191386"/>
                  <a:gd name="connsiteX3" fmla="*/ 446567 w 446567"/>
                  <a:gd name="connsiteY3" fmla="*/ 191386 h 191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567" h="191386">
                    <a:moveTo>
                      <a:pt x="0" y="0"/>
                    </a:moveTo>
                    <a:cubicBezTo>
                      <a:pt x="88161" y="46074"/>
                      <a:pt x="176323" y="92149"/>
                      <a:pt x="239232" y="101009"/>
                    </a:cubicBezTo>
                    <a:cubicBezTo>
                      <a:pt x="302141" y="109869"/>
                      <a:pt x="342900" y="38100"/>
                      <a:pt x="377456" y="53163"/>
                    </a:cubicBezTo>
                    <a:cubicBezTo>
                      <a:pt x="412012" y="68226"/>
                      <a:pt x="411125" y="164805"/>
                      <a:pt x="446567" y="191386"/>
                    </a:cubicBezTo>
                  </a:path>
                </a:pathLst>
              </a:custGeom>
              <a:noFill/>
              <a:ln w="381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80313D2E-5D5E-4BFA-8FA4-05FC912D2CE3}"/>
                  </a:ext>
                </a:extLst>
              </p:cNvPr>
              <p:cNvSpPr/>
              <p:nvPr/>
            </p:nvSpPr>
            <p:spPr bwMode="gray">
              <a:xfrm rot="7750958">
                <a:off x="5569338" y="3832535"/>
                <a:ext cx="1140214" cy="104542"/>
              </a:xfrm>
              <a:custGeom>
                <a:avLst/>
                <a:gdLst>
                  <a:gd name="connsiteX0" fmla="*/ 0 w 446567"/>
                  <a:gd name="connsiteY0" fmla="*/ 0 h 191386"/>
                  <a:gd name="connsiteX1" fmla="*/ 239232 w 446567"/>
                  <a:gd name="connsiteY1" fmla="*/ 101009 h 191386"/>
                  <a:gd name="connsiteX2" fmla="*/ 377456 w 446567"/>
                  <a:gd name="connsiteY2" fmla="*/ 53163 h 191386"/>
                  <a:gd name="connsiteX3" fmla="*/ 446567 w 446567"/>
                  <a:gd name="connsiteY3" fmla="*/ 191386 h 191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567" h="191386">
                    <a:moveTo>
                      <a:pt x="0" y="0"/>
                    </a:moveTo>
                    <a:cubicBezTo>
                      <a:pt x="88161" y="46074"/>
                      <a:pt x="176323" y="92149"/>
                      <a:pt x="239232" y="101009"/>
                    </a:cubicBezTo>
                    <a:cubicBezTo>
                      <a:pt x="302141" y="109869"/>
                      <a:pt x="342900" y="38100"/>
                      <a:pt x="377456" y="53163"/>
                    </a:cubicBezTo>
                    <a:cubicBezTo>
                      <a:pt x="412012" y="68226"/>
                      <a:pt x="411125" y="164805"/>
                      <a:pt x="446567" y="191386"/>
                    </a:cubicBezTo>
                  </a:path>
                </a:pathLst>
              </a:custGeom>
              <a:noFill/>
              <a:ln w="381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72" name="Ellipse 71">
                <a:extLst>
                  <a:ext uri="{FF2B5EF4-FFF2-40B4-BE49-F238E27FC236}">
                    <a16:creationId xmlns:a16="http://schemas.microsoft.com/office/drawing/2014/main" id="{6C5D59B9-D6B3-4141-8F20-D0B143CBA3DE}"/>
                  </a:ext>
                </a:extLst>
              </p:cNvPr>
              <p:cNvSpPr/>
              <p:nvPr/>
            </p:nvSpPr>
            <p:spPr bwMode="gray">
              <a:xfrm>
                <a:off x="6435546" y="3458178"/>
                <a:ext cx="144000" cy="154726"/>
              </a:xfrm>
              <a:prstGeom prst="ellipse">
                <a:avLst/>
              </a:prstGeom>
              <a:solidFill>
                <a:srgbClr val="92D050"/>
              </a:solidFill>
              <a:ln w="1905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dirty="0" err="1">
                  <a:cs typeface="Arial" charset="0"/>
                </a:endParaRPr>
              </a:p>
            </p:txBody>
          </p:sp>
          <p:grpSp>
            <p:nvGrpSpPr>
              <p:cNvPr id="73" name="Gruppieren 72">
                <a:extLst>
                  <a:ext uri="{FF2B5EF4-FFF2-40B4-BE49-F238E27FC236}">
                    <a16:creationId xmlns:a16="http://schemas.microsoft.com/office/drawing/2014/main" id="{4A5328B8-2CFA-4A0D-A291-656F38FEF5E3}"/>
                  </a:ext>
                </a:extLst>
              </p:cNvPr>
              <p:cNvGrpSpPr/>
              <p:nvPr/>
            </p:nvGrpSpPr>
            <p:grpSpPr>
              <a:xfrm rot="9759252">
                <a:off x="6527354" y="3205853"/>
                <a:ext cx="1835622" cy="1039487"/>
                <a:chOff x="5618541" y="2960037"/>
                <a:chExt cx="807378" cy="505334"/>
              </a:xfrm>
            </p:grpSpPr>
            <p:sp>
              <p:nvSpPr>
                <p:cNvPr id="74" name="Freihandform: Form 73">
                  <a:extLst>
                    <a:ext uri="{FF2B5EF4-FFF2-40B4-BE49-F238E27FC236}">
                      <a16:creationId xmlns:a16="http://schemas.microsoft.com/office/drawing/2014/main" id="{BE29CD66-03CE-4664-85CC-91E4B123D0B1}"/>
                    </a:ext>
                  </a:extLst>
                </p:cNvPr>
                <p:cNvSpPr/>
                <p:nvPr/>
              </p:nvSpPr>
              <p:spPr bwMode="gray">
                <a:xfrm>
                  <a:off x="5632755" y="3209151"/>
                  <a:ext cx="793164" cy="228066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5" name="Freihandform: Form 74">
                  <a:extLst>
                    <a:ext uri="{FF2B5EF4-FFF2-40B4-BE49-F238E27FC236}">
                      <a16:creationId xmlns:a16="http://schemas.microsoft.com/office/drawing/2014/main" id="{DB2EFB83-3117-476F-94DD-9B0746469E95}"/>
                    </a:ext>
                  </a:extLst>
                </p:cNvPr>
                <p:cNvSpPr/>
                <p:nvPr/>
              </p:nvSpPr>
              <p:spPr bwMode="gray">
                <a:xfrm rot="1266377" flipH="1">
                  <a:off x="5618541" y="3087287"/>
                  <a:ext cx="798974" cy="262716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6" name="Freihandform: Form 75">
                  <a:extLst>
                    <a:ext uri="{FF2B5EF4-FFF2-40B4-BE49-F238E27FC236}">
                      <a16:creationId xmlns:a16="http://schemas.microsoft.com/office/drawing/2014/main" id="{D9C132DB-5A73-40FA-B211-C08D23F2CA70}"/>
                    </a:ext>
                  </a:extLst>
                </p:cNvPr>
                <p:cNvSpPr/>
                <p:nvPr/>
              </p:nvSpPr>
              <p:spPr bwMode="gray">
                <a:xfrm rot="19591706">
                  <a:off x="5687869" y="2960037"/>
                  <a:ext cx="671612" cy="505334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77" name="Ellipse 76">
                <a:extLst>
                  <a:ext uri="{FF2B5EF4-FFF2-40B4-BE49-F238E27FC236}">
                    <a16:creationId xmlns:a16="http://schemas.microsoft.com/office/drawing/2014/main" id="{4A264D22-B599-450A-9776-2E0A9D7AA7A6}"/>
                  </a:ext>
                </a:extLst>
              </p:cNvPr>
              <p:cNvSpPr/>
              <p:nvPr/>
            </p:nvSpPr>
            <p:spPr bwMode="gray">
              <a:xfrm>
                <a:off x="8233864" y="3414767"/>
                <a:ext cx="144000" cy="154726"/>
              </a:xfrm>
              <a:prstGeom prst="ellipse">
                <a:avLst/>
              </a:prstGeom>
              <a:solidFill>
                <a:srgbClr val="92D050"/>
              </a:solidFill>
              <a:ln w="1905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dirty="0" err="1">
                  <a:cs typeface="Arial" charset="0"/>
                </a:endParaRPr>
              </a:p>
            </p:txBody>
          </p:sp>
        </p:grpSp>
      </p:grpSp>
      <p:sp>
        <p:nvSpPr>
          <p:cNvPr id="42" name="Foliennummernplatzhalter 1">
            <a:extLst>
              <a:ext uri="{FF2B5EF4-FFF2-40B4-BE49-F238E27FC236}">
                <a16:creationId xmlns:a16="http://schemas.microsoft.com/office/drawing/2014/main" id="{5078026E-7BFA-4130-8EFD-8E8BA64D4D97}"/>
              </a:ext>
            </a:extLst>
          </p:cNvPr>
          <p:cNvSpPr txBox="1">
            <a:spLocks/>
          </p:cNvSpPr>
          <p:nvPr/>
        </p:nvSpPr>
        <p:spPr bwMode="gray">
          <a:xfrm>
            <a:off x="8121445" y="6144325"/>
            <a:ext cx="3725521" cy="40580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609705" rtl="0" eaLnBrk="1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 kern="1200">
                <a:solidFill>
                  <a:schemeClr val="bg1"/>
                </a:solidFill>
                <a:latin typeface="Tele-GroteskNor" pitchFamily="2" charset="0"/>
                <a:ea typeface="+mn-ea"/>
                <a:cs typeface="Arial Unicode MS" pitchFamily="34" charset="-128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</a:t>
            </a:fld>
            <a:endParaRPr lang="en-US" dirty="0"/>
          </a:p>
        </p:txBody>
      </p:sp>
      <p:sp>
        <p:nvSpPr>
          <p:cNvPr id="46" name="Titel 3">
            <a:extLst>
              <a:ext uri="{FF2B5EF4-FFF2-40B4-BE49-F238E27FC236}">
                <a16:creationId xmlns:a16="http://schemas.microsoft.com/office/drawing/2014/main" id="{CE2990C2-0A87-45BD-93B5-43C612E30F3A}"/>
              </a:ext>
            </a:extLst>
          </p:cNvPr>
          <p:cNvSpPr txBox="1">
            <a:spLocks/>
          </p:cNvSpPr>
          <p:nvPr/>
        </p:nvSpPr>
        <p:spPr>
          <a:xfrm>
            <a:off x="220919" y="252452"/>
            <a:ext cx="11750162" cy="1052639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funktioniert Unser </a:t>
            </a:r>
            <a:r>
              <a:rPr lang="de-DE" sz="4000" dirty="0" err="1">
                <a:solidFill>
                  <a:schemeClr val="bg1"/>
                </a:solidFill>
              </a:rPr>
              <a:t>gehirn</a:t>
            </a:r>
            <a:r>
              <a:rPr lang="de-DE" sz="4000" dirty="0">
                <a:solidFill>
                  <a:schemeClr val="bg1"/>
                </a:solidFill>
              </a:rPr>
              <a:t>?</a:t>
            </a:r>
            <a:endParaRPr lang="de-DE" sz="3600" dirty="0">
              <a:cs typeface="TeleGrotesk Next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0823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E19B328-79F2-4A17-830E-CD03C12DD0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043" y="323850"/>
            <a:ext cx="3398891" cy="52959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FB047056-79CE-4513-92B8-5CBCAA19A67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3115" y="1272223"/>
            <a:ext cx="4850096" cy="1967865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8B6A1220-B59F-4F37-9F1C-7D83211B2372}"/>
              </a:ext>
            </a:extLst>
          </p:cNvPr>
          <p:cNvSpPr txBox="1"/>
          <p:nvPr/>
        </p:nvSpPr>
        <p:spPr bwMode="gray">
          <a:xfrm>
            <a:off x="1912488" y="2325688"/>
            <a:ext cx="44196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In die </a:t>
            </a:r>
            <a:r>
              <a:rPr lang="en-US" sz="2400" dirty="0" err="1">
                <a:solidFill>
                  <a:schemeClr val="bg1"/>
                </a:solidFill>
              </a:rPr>
              <a:t>Kommandozeile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eingeben</a:t>
            </a:r>
            <a:r>
              <a:rPr lang="en-US" sz="2400" dirty="0">
                <a:solidFill>
                  <a:schemeClr val="bg1"/>
                </a:solidFill>
              </a:rPr>
              <a:t> um in das </a:t>
            </a:r>
            <a:r>
              <a:rPr lang="en-US" sz="2400" dirty="0" err="1">
                <a:solidFill>
                  <a:schemeClr val="bg1"/>
                </a:solidFill>
              </a:rPr>
              <a:t>richtige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Verzeichnis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zu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wechseln</a:t>
            </a:r>
            <a:r>
              <a:rPr lang="en-US" sz="2400" dirty="0">
                <a:solidFill>
                  <a:schemeClr val="bg1"/>
                </a:solidFill>
              </a:rPr>
              <a:t>:</a:t>
            </a:r>
          </a:p>
          <a:p>
            <a:r>
              <a:rPr lang="en-US" sz="2400" dirty="0">
                <a:solidFill>
                  <a:schemeClr val="bg1"/>
                </a:solidFill>
              </a:rPr>
              <a:t>“cd C:\Users\A654652\Desktop\Girlsday_KI\KI_Software\ki-calliope-python”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B327166-7E82-4B20-A8E0-4F74FCA76EE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114" b="67816"/>
          <a:stretch/>
        </p:blipFill>
        <p:spPr>
          <a:xfrm>
            <a:off x="578450" y="3617913"/>
            <a:ext cx="10848062" cy="2207172"/>
          </a:xfrm>
          <a:prstGeom prst="rect">
            <a:avLst/>
          </a:prstGeom>
        </p:spPr>
      </p:pic>
      <p:sp>
        <p:nvSpPr>
          <p:cNvPr id="9" name="Foliennummernplatzhalter 1">
            <a:extLst>
              <a:ext uri="{FF2B5EF4-FFF2-40B4-BE49-F238E27FC236}">
                <a16:creationId xmlns:a16="http://schemas.microsoft.com/office/drawing/2014/main" id="{36269329-7529-4C5D-91DD-DD93D6B8E3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0963234"/>
      </p:ext>
    </p:extLst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73775851-E2ED-4F6C-B272-52C038EFB15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 t="-6"/>
          <a:stretch/>
        </p:blipFill>
        <p:spPr>
          <a:xfrm>
            <a:off x="229175" y="937049"/>
            <a:ext cx="6899759" cy="1192701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81DA9AF6-360A-4A76-98FC-97530388E36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5084" y="3036888"/>
            <a:ext cx="7423846" cy="2948452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E4AAF57-4FDA-4FF6-8428-850E763384B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8418" y="247988"/>
            <a:ext cx="2572481" cy="357152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E19B328-79F2-4A17-830E-CD03C12DD0F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043" y="323850"/>
            <a:ext cx="3398891" cy="52959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8B6A1220-B59F-4F37-9F1C-7D83211B2372}"/>
              </a:ext>
            </a:extLst>
          </p:cNvPr>
          <p:cNvSpPr txBox="1"/>
          <p:nvPr/>
        </p:nvSpPr>
        <p:spPr bwMode="gray">
          <a:xfrm>
            <a:off x="1212525" y="2052955"/>
            <a:ext cx="44196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In die </a:t>
            </a:r>
            <a:r>
              <a:rPr lang="en-US" sz="2400" dirty="0" err="1">
                <a:solidFill>
                  <a:schemeClr val="bg1"/>
                </a:solidFill>
              </a:rPr>
              <a:t>Kommandozeile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eingeben</a:t>
            </a:r>
            <a:r>
              <a:rPr lang="en-US" sz="2400" dirty="0">
                <a:solidFill>
                  <a:schemeClr val="bg1"/>
                </a:solidFill>
              </a:rPr>
              <a:t>:</a:t>
            </a:r>
          </a:p>
          <a:p>
            <a:r>
              <a:rPr lang="en-US" sz="2400" dirty="0">
                <a:solidFill>
                  <a:schemeClr val="bg1"/>
                </a:solidFill>
              </a:rPr>
              <a:t>“python ./ki-train.py ./csv-raw/120minutes-1.csv”</a:t>
            </a:r>
          </a:p>
        </p:txBody>
      </p:sp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06305A00-897E-4D49-94CC-2C51956B85C3}"/>
              </a:ext>
            </a:extLst>
          </p:cNvPr>
          <p:cNvSpPr/>
          <p:nvPr/>
        </p:nvSpPr>
        <p:spPr bwMode="gray">
          <a:xfrm rot="9369133" flipV="1">
            <a:off x="6215514" y="1319722"/>
            <a:ext cx="3047605" cy="1234758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Jeweils 10 bis 120 </a:t>
            </a:r>
            <a:r>
              <a:rPr lang="de-DE" sz="1800" dirty="0" err="1">
                <a:cs typeface="Arial" charset="0"/>
              </a:rPr>
              <a:t>minuten</a:t>
            </a:r>
            <a:r>
              <a:rPr lang="de-DE" sz="1800" dirty="0">
                <a:cs typeface="Arial" charset="0"/>
              </a:rPr>
              <a:t> Spieldauer wählen</a:t>
            </a:r>
            <a:endParaRPr lang="en-US" sz="1800" dirty="0" err="1">
              <a:cs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A495B93-F08C-4BF4-8211-E962D9C8E03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29600" y="4963108"/>
            <a:ext cx="3659015" cy="1184624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47BFF481-B7F8-4676-8B66-5F0309A0945F}"/>
              </a:ext>
            </a:extLst>
          </p:cNvPr>
          <p:cNvSpPr txBox="1"/>
          <p:nvPr/>
        </p:nvSpPr>
        <p:spPr bwMode="gray">
          <a:xfrm>
            <a:off x="8134994" y="3895909"/>
            <a:ext cx="3806527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 err="1">
                <a:solidFill>
                  <a:schemeClr val="bg1"/>
                </a:solidFill>
              </a:rPr>
              <a:t>Ergebnis</a:t>
            </a:r>
            <a:r>
              <a:rPr lang="en-US" sz="2400" dirty="0">
                <a:solidFill>
                  <a:schemeClr val="bg1"/>
                </a:solidFill>
              </a:rPr>
              <a:t>: </a:t>
            </a:r>
            <a:r>
              <a:rPr lang="en-US" sz="2400" dirty="0" err="1">
                <a:solidFill>
                  <a:schemeClr val="bg1"/>
                </a:solidFill>
              </a:rPr>
              <a:t>Im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Verzeichnis</a:t>
            </a:r>
            <a:r>
              <a:rPr lang="en-US" sz="2400" dirty="0">
                <a:solidFill>
                  <a:schemeClr val="bg1"/>
                </a:solidFill>
              </a:rPr>
              <a:t> Modell 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 err="1">
                <a:solidFill>
                  <a:schemeClr val="bg1"/>
                </a:solidFill>
              </a:rPr>
              <a:t>wurde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zwei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ateie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erzeugt</a:t>
            </a:r>
            <a:r>
              <a:rPr lang="en-US" sz="2400" dirty="0">
                <a:solidFill>
                  <a:schemeClr val="bg1"/>
                </a:solidFill>
              </a:rPr>
              <a:t> !</a:t>
            </a:r>
          </a:p>
        </p:txBody>
      </p:sp>
      <p:sp>
        <p:nvSpPr>
          <p:cNvPr id="11" name="Foliennummernplatzhalter 1">
            <a:extLst>
              <a:ext uri="{FF2B5EF4-FFF2-40B4-BE49-F238E27FC236}">
                <a16:creationId xmlns:a16="http://schemas.microsoft.com/office/drawing/2014/main" id="{7B94B8B5-AF0E-4225-BF4A-E276A1FE87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281098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2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KI -Steuerungsphase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190CB095-D87B-452A-9239-310F74F40B23}"/>
              </a:ext>
            </a:extLst>
          </p:cNvPr>
          <p:cNvSpPr/>
          <p:nvPr/>
        </p:nvSpPr>
        <p:spPr bwMode="gray">
          <a:xfrm>
            <a:off x="362077" y="1504421"/>
            <a:ext cx="9323343" cy="1182436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200" b="1" dirty="0">
                <a:cs typeface="Arial" charset="0"/>
              </a:rPr>
              <a:t>Künstlich Intelligente </a:t>
            </a:r>
            <a:r>
              <a:rPr lang="de-DE" sz="3200" b="1" dirty="0" err="1">
                <a:cs typeface="Arial" charset="0"/>
              </a:rPr>
              <a:t>Calliope</a:t>
            </a:r>
            <a:r>
              <a:rPr lang="de-DE" sz="3200" b="1" dirty="0">
                <a:cs typeface="Arial" charset="0"/>
              </a:rPr>
              <a:t> </a:t>
            </a:r>
            <a:r>
              <a:rPr lang="de-DE" sz="3200" b="1" u="sng" dirty="0">
                <a:cs typeface="Arial" charset="0"/>
              </a:rPr>
              <a:t>übernimmt die Steuerung </a:t>
            </a:r>
            <a:r>
              <a:rPr lang="de-DE" sz="3200" b="1" dirty="0">
                <a:cs typeface="Arial" charset="0"/>
              </a:rPr>
              <a:t>und muss „IQ-Test“ bestehen.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558FB7E-3C13-4F55-BAE5-8B591ADAF531}"/>
              </a:ext>
            </a:extLst>
          </p:cNvPr>
          <p:cNvSpPr/>
          <p:nvPr/>
        </p:nvSpPr>
        <p:spPr bwMode="gray">
          <a:xfrm>
            <a:off x="1109061" y="1066279"/>
            <a:ext cx="565485" cy="62564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b="1" dirty="0">
                <a:cs typeface="Arial" charset="0"/>
              </a:rPr>
              <a:t>3</a:t>
            </a:r>
            <a:endParaRPr lang="en-US" sz="3600" b="1" dirty="0" err="1">
              <a:cs typeface="Arial" charset="0"/>
            </a:endParaRPr>
          </a:p>
        </p:txBody>
      </p:sp>
      <p:pic>
        <p:nvPicPr>
          <p:cNvPr id="40" name="Picture 2" descr="IQ-Test: Wie finden Sie Ihren IQ heraus?">
            <a:extLst>
              <a:ext uri="{FF2B5EF4-FFF2-40B4-BE49-F238E27FC236}">
                <a16:creationId xmlns:a16="http://schemas.microsoft.com/office/drawing/2014/main" id="{F90844BE-038D-4CD1-AC80-337CD0704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2354" y="2935285"/>
            <a:ext cx="5912417" cy="304039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1915266"/>
      </p:ext>
    </p:extLst>
  </p:cSld>
  <p:clrMapOvr>
    <a:masterClrMapping/>
  </p:clrMapOvr>
  <p:transition spd="med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B594EBE5-B810-46F2-98A9-AB527847E23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8377" y="2611577"/>
            <a:ext cx="4277247" cy="3337667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C1BF9649-24C0-4562-BC48-3516CCE41AF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 t="-6"/>
          <a:stretch/>
        </p:blipFill>
        <p:spPr>
          <a:xfrm>
            <a:off x="213042" y="962024"/>
            <a:ext cx="6899759" cy="119270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E19B328-79F2-4A17-830E-CD03C12DD0F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043" y="323850"/>
            <a:ext cx="3398891" cy="52959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8B6A1220-B59F-4F37-9F1C-7D83211B2372}"/>
              </a:ext>
            </a:extLst>
          </p:cNvPr>
          <p:cNvSpPr txBox="1"/>
          <p:nvPr/>
        </p:nvSpPr>
        <p:spPr bwMode="gray">
          <a:xfrm>
            <a:off x="392101" y="1917340"/>
            <a:ext cx="44196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In die </a:t>
            </a:r>
            <a:r>
              <a:rPr lang="en-US" sz="2400" dirty="0" err="1">
                <a:solidFill>
                  <a:schemeClr val="bg1"/>
                </a:solidFill>
              </a:rPr>
              <a:t>Kommandozeile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eingeben</a:t>
            </a:r>
            <a:r>
              <a:rPr lang="en-US" sz="2400" dirty="0">
                <a:solidFill>
                  <a:schemeClr val="bg1"/>
                </a:solidFill>
              </a:rPr>
              <a:t>:</a:t>
            </a:r>
          </a:p>
          <a:p>
            <a:r>
              <a:rPr lang="en-US" sz="2400" dirty="0">
                <a:solidFill>
                  <a:schemeClr val="bg1"/>
                </a:solidFill>
              </a:rPr>
              <a:t>“python ./car_race.py </a:t>
            </a:r>
            <a:r>
              <a:rPr lang="en-US" sz="2400" dirty="0" err="1">
                <a:solidFill>
                  <a:schemeClr val="bg1"/>
                </a:solidFill>
              </a:rPr>
              <a:t>sklearn</a:t>
            </a:r>
            <a:r>
              <a:rPr lang="en-US" sz="2400" dirty="0">
                <a:solidFill>
                  <a:schemeClr val="bg1"/>
                </a:solidFill>
              </a:rPr>
              <a:t> ./models/</a:t>
            </a:r>
            <a:r>
              <a:rPr lang="en-US" sz="2400" dirty="0" err="1">
                <a:solidFill>
                  <a:schemeClr val="bg1"/>
                </a:solidFill>
              </a:rPr>
              <a:t>sklearn-py-model.pkcls</a:t>
            </a:r>
            <a:r>
              <a:rPr lang="en-US" sz="2400" dirty="0">
                <a:solidFill>
                  <a:schemeClr val="bg1"/>
                </a:solidFill>
              </a:rPr>
              <a:t> ja”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FF48C48F-1859-4C9A-83AA-AA8ED7E38B1F}"/>
              </a:ext>
            </a:extLst>
          </p:cNvPr>
          <p:cNvSpPr/>
          <p:nvPr/>
        </p:nvSpPr>
        <p:spPr bwMode="gray">
          <a:xfrm>
            <a:off x="7541537" y="3129280"/>
            <a:ext cx="819279" cy="247662"/>
          </a:xfrm>
          <a:prstGeom prst="ellipse">
            <a:avLst/>
          </a:prstGeom>
          <a:noFill/>
          <a:ln w="349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91F81269-5BC6-4873-8EA0-F859767B7782}"/>
              </a:ext>
            </a:extLst>
          </p:cNvPr>
          <p:cNvSpPr/>
          <p:nvPr/>
        </p:nvSpPr>
        <p:spPr bwMode="gray">
          <a:xfrm rot="8769798" flipV="1">
            <a:off x="8475721" y="1609888"/>
            <a:ext cx="2702560" cy="1234758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>
                <a:cs typeface="Arial" charset="0"/>
              </a:rPr>
              <a:t>Zahl 2 Drücken</a:t>
            </a:r>
            <a:endParaRPr lang="en-US" sz="1800" dirty="0" err="1">
              <a:cs typeface="Arial" charset="0"/>
            </a:endParaRPr>
          </a:p>
        </p:txBody>
      </p:sp>
      <p:sp>
        <p:nvSpPr>
          <p:cNvPr id="10" name="Foliennummernplatzhalter 1">
            <a:extLst>
              <a:ext uri="{FF2B5EF4-FFF2-40B4-BE49-F238E27FC236}">
                <a16:creationId xmlns:a16="http://schemas.microsoft.com/office/drawing/2014/main" id="{21C86D59-418D-4597-BE7B-3488119D7B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3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E474600-F21C-4D60-8750-67BDBE8BB3C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4970" y="3376942"/>
            <a:ext cx="7443407" cy="212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893584"/>
      </p:ext>
    </p:extLst>
  </p:cSld>
  <p:clrMapOvr>
    <a:masterClrMapping/>
  </p:clrMapOvr>
  <p:transition spd="med"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E19B328-79F2-4A17-830E-CD03C12DD0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043" y="323850"/>
            <a:ext cx="3398891" cy="52959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FBAD48E-41A0-409B-B9E2-1526F19E5256}"/>
              </a:ext>
            </a:extLst>
          </p:cNvPr>
          <p:cNvSpPr txBox="1"/>
          <p:nvPr/>
        </p:nvSpPr>
        <p:spPr bwMode="gray">
          <a:xfrm>
            <a:off x="8798560" y="0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5400" dirty="0">
                <a:solidFill>
                  <a:schemeClr val="bg1"/>
                </a:solidFill>
              </a:rPr>
              <a:t>10 Minuten</a:t>
            </a:r>
            <a:endParaRPr lang="en-US" sz="5400" dirty="0" err="1">
              <a:solidFill>
                <a:schemeClr val="bg1"/>
              </a:solidFill>
            </a:endParaRPr>
          </a:p>
        </p:txBody>
      </p:sp>
      <p:sp>
        <p:nvSpPr>
          <p:cNvPr id="7" name="Foliennummernplatzhalter 1">
            <a:extLst>
              <a:ext uri="{FF2B5EF4-FFF2-40B4-BE49-F238E27FC236}">
                <a16:creationId xmlns:a16="http://schemas.microsoft.com/office/drawing/2014/main" id="{26745ABB-E46E-4484-AEBB-55B25DFB8B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4</a:t>
            </a:fld>
            <a:endParaRPr lang="en-US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0458FD1-AFBA-48F1-9271-1D010538FB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042" y="1165634"/>
            <a:ext cx="8811425" cy="473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004602"/>
      </p:ext>
    </p:extLst>
  </p:cSld>
  <p:clrMapOvr>
    <a:masterClrMapping/>
  </p:clrMapOvr>
  <p:transition spd="med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E19B328-79F2-4A17-830E-CD03C12DD0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043" y="323850"/>
            <a:ext cx="3398891" cy="52959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FBAD48E-41A0-409B-B9E2-1526F19E5256}"/>
              </a:ext>
            </a:extLst>
          </p:cNvPr>
          <p:cNvSpPr txBox="1"/>
          <p:nvPr/>
        </p:nvSpPr>
        <p:spPr bwMode="gray">
          <a:xfrm>
            <a:off x="8798560" y="0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5400" dirty="0">
                <a:solidFill>
                  <a:schemeClr val="bg1"/>
                </a:solidFill>
              </a:rPr>
              <a:t>60 Minuten</a:t>
            </a:r>
            <a:endParaRPr lang="en-US" sz="5400" dirty="0" err="1">
              <a:solidFill>
                <a:schemeClr val="bg1"/>
              </a:solidFill>
            </a:endParaRPr>
          </a:p>
        </p:txBody>
      </p:sp>
      <p:sp>
        <p:nvSpPr>
          <p:cNvPr id="7" name="Foliennummernplatzhalter 1">
            <a:extLst>
              <a:ext uri="{FF2B5EF4-FFF2-40B4-BE49-F238E27FC236}">
                <a16:creationId xmlns:a16="http://schemas.microsoft.com/office/drawing/2014/main" id="{79679FD8-F0E0-4E11-AD10-34D0914AF6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5</a:t>
            </a:fld>
            <a:endParaRPr lang="en-US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2EAC6EF-216C-4787-A6EE-7152A6E485C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043" y="914400"/>
            <a:ext cx="9207206" cy="491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407090"/>
      </p:ext>
    </p:extLst>
  </p:cSld>
  <p:clrMapOvr>
    <a:masterClrMapping/>
  </p:clrMapOvr>
  <p:transition spd="med"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E19B328-79F2-4A17-830E-CD03C12DD0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043" y="323850"/>
            <a:ext cx="3398891" cy="52959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FBAD48E-41A0-409B-B9E2-1526F19E5256}"/>
              </a:ext>
            </a:extLst>
          </p:cNvPr>
          <p:cNvSpPr txBox="1"/>
          <p:nvPr/>
        </p:nvSpPr>
        <p:spPr bwMode="gray">
          <a:xfrm>
            <a:off x="8798560" y="0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5400" dirty="0">
                <a:solidFill>
                  <a:schemeClr val="bg1"/>
                </a:solidFill>
              </a:rPr>
              <a:t>120 Minuten</a:t>
            </a:r>
            <a:endParaRPr lang="en-US" sz="5400" dirty="0" err="1">
              <a:solidFill>
                <a:schemeClr val="bg1"/>
              </a:solidFill>
            </a:endParaRPr>
          </a:p>
        </p:txBody>
      </p:sp>
      <p:sp>
        <p:nvSpPr>
          <p:cNvPr id="7" name="Foliennummernplatzhalter 1">
            <a:extLst>
              <a:ext uri="{FF2B5EF4-FFF2-40B4-BE49-F238E27FC236}">
                <a16:creationId xmlns:a16="http://schemas.microsoft.com/office/drawing/2014/main" id="{79679FD8-F0E0-4E11-AD10-34D0914AF6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6</a:t>
            </a:fld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9E24DDB-F756-4B1A-AD78-0FCB2968769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043" y="984563"/>
            <a:ext cx="8619227" cy="4728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031994"/>
      </p:ext>
    </p:extLst>
  </p:cSld>
  <p:clrMapOvr>
    <a:masterClrMapping/>
  </p:clrMapOvr>
  <p:transition spd="med"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7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arum heißt es nun maschinelles lernen?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1441535-C037-4D43-BD2C-5D63F6BB4BE8}"/>
              </a:ext>
            </a:extLst>
          </p:cNvPr>
          <p:cNvSpPr txBox="1"/>
          <p:nvPr/>
        </p:nvSpPr>
        <p:spPr bwMode="gray">
          <a:xfrm>
            <a:off x="2654601" y="1742705"/>
            <a:ext cx="9264500" cy="323143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361950" indent="-361950">
              <a:buAutoNum type="arabicPeriod"/>
            </a:pPr>
            <a:r>
              <a:rPr lang="de-DE" sz="3200" dirty="0">
                <a:solidFill>
                  <a:schemeClr val="bg1"/>
                </a:solidFill>
              </a:rPr>
              <a:t>Wir haben viele Trainings-Daten durch spielen erzeugt.</a:t>
            </a:r>
          </a:p>
          <a:p>
            <a:pPr marL="361950" indent="-361950">
              <a:buAutoNum type="arabicPeriod"/>
            </a:pPr>
            <a:endParaRPr lang="de-DE" sz="3200" dirty="0">
              <a:solidFill>
                <a:schemeClr val="bg1"/>
              </a:solidFill>
            </a:endParaRPr>
          </a:p>
          <a:p>
            <a:endParaRPr lang="de-DE" sz="3200" dirty="0">
              <a:solidFill>
                <a:schemeClr val="bg1"/>
              </a:solidFill>
            </a:endParaRPr>
          </a:p>
          <a:p>
            <a:pPr marL="361950" indent="-361950">
              <a:buAutoNum type="arabicPeriod"/>
            </a:pPr>
            <a:r>
              <a:rPr lang="en-US" sz="3200" dirty="0" err="1">
                <a:solidFill>
                  <a:schemeClr val="bg1"/>
                </a:solidFill>
              </a:rPr>
              <a:t>Wir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haben</a:t>
            </a:r>
            <a:r>
              <a:rPr lang="en-US" sz="3200" dirty="0">
                <a:solidFill>
                  <a:schemeClr val="bg1"/>
                </a:solidFill>
              </a:rPr>
              <a:t> nun den KI-Calliope </a:t>
            </a:r>
            <a:r>
              <a:rPr lang="en-US" sz="3200" dirty="0" err="1">
                <a:solidFill>
                  <a:schemeClr val="bg1"/>
                </a:solidFill>
              </a:rPr>
              <a:t>angelernt</a:t>
            </a:r>
            <a:r>
              <a:rPr lang="en-US" sz="3200" dirty="0">
                <a:solidFill>
                  <a:schemeClr val="bg1"/>
                </a:solidFill>
              </a:rPr>
              <a:t> und </a:t>
            </a:r>
            <a:r>
              <a:rPr lang="en-US" sz="3200" dirty="0" err="1">
                <a:solidFill>
                  <a:schemeClr val="bg1"/>
                </a:solidFill>
              </a:rPr>
              <a:t>getestet</a:t>
            </a:r>
            <a:r>
              <a:rPr lang="en-US" sz="3200" dirty="0">
                <a:solidFill>
                  <a:schemeClr val="bg1"/>
                </a:solidFill>
              </a:rPr>
              <a:t>.</a:t>
            </a:r>
          </a:p>
          <a:p>
            <a:pPr marL="361950" indent="-361950">
              <a:buAutoNum type="arabicPeriod"/>
            </a:pPr>
            <a:endParaRPr lang="en-US" sz="3200" dirty="0">
              <a:solidFill>
                <a:schemeClr val="bg1"/>
              </a:solidFill>
            </a:endParaRPr>
          </a:p>
          <a:p>
            <a:pPr marL="361950" indent="-361950">
              <a:buAutoNum type="arabicPeriod"/>
            </a:pPr>
            <a:endParaRPr lang="en-US" sz="3200" dirty="0">
              <a:solidFill>
                <a:schemeClr val="bg1"/>
              </a:solidFill>
            </a:endParaRPr>
          </a:p>
          <a:p>
            <a:pPr marL="361950" indent="-361950">
              <a:buAutoNum type="arabicPeriod"/>
            </a:pPr>
            <a:r>
              <a:rPr lang="en-US" sz="3200" dirty="0" err="1">
                <a:solidFill>
                  <a:schemeClr val="bg1"/>
                </a:solidFill>
              </a:rPr>
              <a:t>Wir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haben</a:t>
            </a:r>
            <a:r>
              <a:rPr lang="en-US" sz="3200" dirty="0">
                <a:solidFill>
                  <a:schemeClr val="bg1"/>
                </a:solidFill>
              </a:rPr>
              <a:t> den KI-Calliope </a:t>
            </a:r>
            <a:r>
              <a:rPr lang="en-US" sz="3200" dirty="0" err="1">
                <a:solidFill>
                  <a:schemeClr val="bg1"/>
                </a:solidFill>
              </a:rPr>
              <a:t>alleine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spielen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lassen</a:t>
            </a:r>
            <a:r>
              <a:rPr lang="en-US" sz="3200" dirty="0">
                <a:solidFill>
                  <a:schemeClr val="bg1"/>
                </a:solidFill>
              </a:rPr>
              <a:t> und </a:t>
            </a:r>
            <a:r>
              <a:rPr lang="en-US" sz="3200" dirty="0" err="1">
                <a:solidFill>
                  <a:schemeClr val="bg1"/>
                </a:solidFill>
              </a:rPr>
              <a:t>wissen</a:t>
            </a:r>
            <a:r>
              <a:rPr lang="en-US" sz="3200" dirty="0">
                <a:solidFill>
                  <a:schemeClr val="bg1"/>
                </a:solidFill>
              </a:rPr>
              <a:t> nun </a:t>
            </a:r>
            <a:r>
              <a:rPr lang="en-US" sz="3200" dirty="0" err="1">
                <a:solidFill>
                  <a:schemeClr val="bg1"/>
                </a:solidFill>
              </a:rPr>
              <a:t>wie</a:t>
            </a:r>
            <a:r>
              <a:rPr lang="en-US" sz="3200" dirty="0">
                <a:solidFill>
                  <a:schemeClr val="bg1"/>
                </a:solidFill>
              </a:rPr>
              <a:t> gut </a:t>
            </a:r>
            <a:r>
              <a:rPr lang="en-US" sz="3200" dirty="0" err="1">
                <a:solidFill>
                  <a:schemeClr val="bg1"/>
                </a:solidFill>
              </a:rPr>
              <a:t>er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ist</a:t>
            </a:r>
            <a:r>
              <a:rPr lang="en-US" sz="3200" dirty="0">
                <a:solidFill>
                  <a:schemeClr val="bg1"/>
                </a:solidFill>
              </a:rPr>
              <a:t>.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27CF957-30B0-45A6-A2E1-DB7C8B8EC00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4350"/>
          <a:stretch/>
        </p:blipFill>
        <p:spPr>
          <a:xfrm>
            <a:off x="611240" y="1412998"/>
            <a:ext cx="1566214" cy="137673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1" name="Picture 2" descr="IQ-Test: Wie finden Sie Ihren IQ heraus?">
            <a:extLst>
              <a:ext uri="{FF2B5EF4-FFF2-40B4-BE49-F238E27FC236}">
                <a16:creationId xmlns:a16="http://schemas.microsoft.com/office/drawing/2014/main" id="{8B45DC32-7828-486C-B069-835661DBB4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930" y="4687405"/>
            <a:ext cx="2015908" cy="126974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248FC5E-FE73-494C-9A9E-0138884C7B8E}"/>
              </a:ext>
            </a:extLst>
          </p:cNvPr>
          <p:cNvGrpSpPr/>
          <p:nvPr/>
        </p:nvGrpSpPr>
        <p:grpSpPr>
          <a:xfrm>
            <a:off x="611240" y="2847829"/>
            <a:ext cx="1566214" cy="1668749"/>
            <a:chOff x="5075717" y="3182595"/>
            <a:chExt cx="1593985" cy="2746135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1A219833-0698-48D6-9D02-737F0091B0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721"/>
            <a:stretch/>
          </p:blipFill>
          <p:spPr>
            <a:xfrm>
              <a:off x="5075717" y="3182595"/>
              <a:ext cx="1593985" cy="2746135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152400" dist="12000" dir="900000" sy="98000" kx="110000" ky="200000" algn="tl" rotWithShape="0">
                <a:srgbClr val="000000">
                  <a:alpha val="30000"/>
                </a:srgbClr>
              </a:outerShdw>
            </a:effectLst>
            <a:scene3d>
              <a:camera prst="perspectiveRelaxed">
                <a:rot lat="19800000" lon="1200000" rev="20820000"/>
              </a:camera>
              <a:lightRig rig="threePt" dir="t"/>
            </a:scene3d>
            <a:sp3d contourW="6350" prstMaterial="matte">
              <a:bevelT w="101600" h="101600"/>
              <a:contourClr>
                <a:srgbClr val="969696"/>
              </a:contourClr>
            </a:sp3d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8E3703AF-73C6-4DE1-9105-5F79681FAB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4737857">
              <a:off x="5128368" y="4046437"/>
              <a:ext cx="1657401" cy="971057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</p:grpSp>
    </p:spTree>
    <p:extLst>
      <p:ext uri="{BB962C8B-B14F-4D97-AF65-F5344CB8AC3E}">
        <p14:creationId xmlns:p14="http://schemas.microsoft.com/office/powerpoint/2010/main" val="3225315958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F3F4F6C-B7B5-4983-847C-612CF6559E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</a:t>
            </a:fld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501697D-7010-428D-B474-63A72C57232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2359" y="1149923"/>
            <a:ext cx="11277384" cy="410412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Foliennummernplatzhalter 1">
            <a:extLst>
              <a:ext uri="{FF2B5EF4-FFF2-40B4-BE49-F238E27FC236}">
                <a16:creationId xmlns:a16="http://schemas.microsoft.com/office/drawing/2014/main" id="{C28F3352-83A2-435F-8E7D-17EC41E393CF}"/>
              </a:ext>
            </a:extLst>
          </p:cNvPr>
          <p:cNvSpPr txBox="1">
            <a:spLocks/>
          </p:cNvSpPr>
          <p:nvPr/>
        </p:nvSpPr>
        <p:spPr bwMode="gray">
          <a:xfrm>
            <a:off x="8121445" y="6144325"/>
            <a:ext cx="3725521" cy="40580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609705" rtl="0" eaLnBrk="1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 kern="1200">
                <a:solidFill>
                  <a:schemeClr val="bg1"/>
                </a:solidFill>
                <a:latin typeface="Tele-GroteskNor" pitchFamily="2" charset="0"/>
                <a:ea typeface="+mn-ea"/>
                <a:cs typeface="Arial Unicode MS" pitchFamily="34" charset="-128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</a:t>
            </a:fld>
            <a:endParaRPr lang="en-US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0A4A9817-510A-4F30-9171-D9EBCD7CAC20}"/>
              </a:ext>
            </a:extLst>
          </p:cNvPr>
          <p:cNvSpPr txBox="1">
            <a:spLocks/>
          </p:cNvSpPr>
          <p:nvPr/>
        </p:nvSpPr>
        <p:spPr>
          <a:xfrm>
            <a:off x="220919" y="252452"/>
            <a:ext cx="11750162" cy="1052639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neuronale netze </a:t>
            </a:r>
            <a:r>
              <a:rPr lang="de-DE" sz="4000" dirty="0" err="1">
                <a:solidFill>
                  <a:schemeClr val="bg1"/>
                </a:solidFill>
              </a:rPr>
              <a:t>katzen</a:t>
            </a:r>
            <a:r>
              <a:rPr lang="de-DE" sz="4000" dirty="0">
                <a:solidFill>
                  <a:schemeClr val="bg1"/>
                </a:solidFill>
              </a:rPr>
              <a:t> erkennen?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CCCADA0-7E31-4D89-ADCA-29C251B03EAB}"/>
              </a:ext>
            </a:extLst>
          </p:cNvPr>
          <p:cNvSpPr/>
          <p:nvPr/>
        </p:nvSpPr>
        <p:spPr>
          <a:xfrm>
            <a:off x="8780684" y="5376019"/>
            <a:ext cx="268535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lle: Bundesministerium für Bildung und Forschung </a:t>
            </a:r>
            <a:endParaRPr 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9704794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08562BB8-D635-47AE-BDD4-C0977EA5C7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5</a:t>
            </a:fld>
            <a:endParaRPr lang="en-US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BEDE48B8-EA2A-4BC7-A65B-2BE7838E820C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Beispiele für künstliche </a:t>
            </a:r>
            <a:r>
              <a:rPr lang="de-DE" sz="4000" dirty="0" err="1">
                <a:solidFill>
                  <a:schemeClr val="bg1"/>
                </a:solidFill>
              </a:rPr>
              <a:t>intelligenz</a:t>
            </a:r>
            <a:r>
              <a:rPr lang="de-DE" sz="4000" dirty="0">
                <a:solidFill>
                  <a:schemeClr val="bg1"/>
                </a:solidFill>
              </a:rPr>
              <a:t> </a:t>
            </a:r>
            <a:r>
              <a:rPr lang="de-DE" sz="2400" dirty="0">
                <a:cs typeface="TeleGrotesk Next Ultra" pitchFamily="2" charset="0"/>
              </a:rPr>
              <a:t>	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16386" name="Picture 2" descr="Ein Roboter lÃ¶st einen magischen WÃ¼rfel.">
            <a:extLst>
              <a:ext uri="{FF2B5EF4-FFF2-40B4-BE49-F238E27FC236}">
                <a16:creationId xmlns:a16="http://schemas.microsoft.com/office/drawing/2014/main" id="{2193C055-ECFA-4E24-B91B-A9881F1BB60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94"/>
          <a:stretch/>
        </p:blipFill>
        <p:spPr bwMode="auto">
          <a:xfrm>
            <a:off x="371056" y="3240088"/>
            <a:ext cx="1852613" cy="2106893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0" name="Picture 6" descr="Ãhnliches Foto">
            <a:extLst>
              <a:ext uri="{FF2B5EF4-FFF2-40B4-BE49-F238E27FC236}">
                <a16:creationId xmlns:a16="http://schemas.microsoft.com/office/drawing/2014/main" id="{75A6ADDB-EBA4-41B8-9F05-A656A9E22B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158058" y="1254964"/>
            <a:ext cx="2855655" cy="1606065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F708DB7-A035-4193-9C19-C8DF2B81A1E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4227" y="1054552"/>
            <a:ext cx="2089367" cy="2785823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59927DF6-20E5-45E1-88B5-0B93E041EA3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2234" y="1512437"/>
            <a:ext cx="2393751" cy="413063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CF6CED4B-622A-4200-A4DD-092A6CB493B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9926" y="3892952"/>
            <a:ext cx="3309359" cy="2061356"/>
          </a:xfrm>
          <a:prstGeom prst="rect">
            <a:avLst/>
          </a:prstGeom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0D3EC1A6-4DD6-4AEB-A07F-8124A566E8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52242" y="4499428"/>
            <a:ext cx="2693335" cy="1665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768E07C0-7E5A-44F1-B303-E22D39D0F1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643" y="1254964"/>
            <a:ext cx="2545057" cy="1579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 descr="Bildergebnis fÃ¼r vorwerk kobold">
            <a:extLst>
              <a:ext uri="{FF2B5EF4-FFF2-40B4-BE49-F238E27FC236}">
                <a16:creationId xmlns:a16="http://schemas.microsoft.com/office/drawing/2014/main" id="{15DC83ED-5411-433F-889E-6B388BFF77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089578" y="2819378"/>
            <a:ext cx="2198712" cy="1350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CD56D577-DAC8-404A-85D6-FCEBB9A78B61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0002" y="2466712"/>
            <a:ext cx="2153257" cy="1211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9674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6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15234" y="3927230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Ein klassisches </a:t>
            </a:r>
            <a:r>
              <a:rPr lang="de-DE" sz="4000" dirty="0" err="1">
                <a:solidFill>
                  <a:schemeClr val="bg1"/>
                </a:solidFill>
              </a:rPr>
              <a:t>programm</a:t>
            </a:r>
            <a:endParaRPr lang="de-DE" sz="4000" dirty="0">
              <a:solidFill>
                <a:schemeClr val="bg1"/>
              </a:solidFill>
            </a:endParaRPr>
          </a:p>
          <a:p>
            <a:br>
              <a:rPr lang="de-DE" sz="4000" dirty="0">
                <a:solidFill>
                  <a:schemeClr val="bg1"/>
                </a:solidFill>
              </a:rPr>
            </a:br>
            <a:r>
              <a:rPr lang="de-DE" sz="4000" dirty="0">
                <a:solidFill>
                  <a:schemeClr val="bg1"/>
                </a:solidFill>
              </a:rPr>
              <a:t>	</a:t>
            </a:r>
            <a:r>
              <a:rPr lang="de-DE" sz="2400" dirty="0">
                <a:cs typeface="TeleGrotesk Next Ultra" pitchFamily="2" charset="0"/>
              </a:rPr>
              <a:t>				</a:t>
            </a:r>
            <a:endParaRPr lang="de-DE" sz="3600" dirty="0">
              <a:cs typeface="TeleGrotesk Next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3455849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>
            <a:extLst>
              <a:ext uri="{FF2B5EF4-FFF2-40B4-BE49-F238E27FC236}">
                <a16:creationId xmlns:a16="http://schemas.microsoft.com/office/drawing/2014/main" id="{BEDE48B8-EA2A-4BC7-A65B-2BE7838E820C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würden wir backen?</a:t>
            </a:r>
            <a:endParaRPr lang="de-DE" sz="3600" dirty="0">
              <a:cs typeface="TeleGrotesk Next Ultra" pitchFamily="2" charset="0"/>
            </a:endParaRP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951442CE-434B-4D88-8AAB-B47CE5800944}"/>
              </a:ext>
            </a:extLst>
          </p:cNvPr>
          <p:cNvCxnSpPr>
            <a:cxnSpLocks/>
          </p:cNvCxnSpPr>
          <p:nvPr/>
        </p:nvCxnSpPr>
        <p:spPr>
          <a:xfrm>
            <a:off x="4819594" y="4732229"/>
            <a:ext cx="816377" cy="0"/>
          </a:xfrm>
          <a:prstGeom prst="straightConnector1">
            <a:avLst/>
          </a:prstGeom>
          <a:ln w="1143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673EB52B-2220-4840-8465-FAF7D101B513}"/>
              </a:ext>
            </a:extLst>
          </p:cNvPr>
          <p:cNvGrpSpPr/>
          <p:nvPr/>
        </p:nvGrpSpPr>
        <p:grpSpPr>
          <a:xfrm>
            <a:off x="922814" y="1392425"/>
            <a:ext cx="1488441" cy="2091289"/>
            <a:chOff x="400370" y="2045331"/>
            <a:chExt cx="1117248" cy="1559823"/>
          </a:xfrm>
        </p:grpSpPr>
        <p:pic>
          <p:nvPicPr>
            <p:cNvPr id="53" name="Picture 12" descr="Bildergebnis fÃ¼r Zucker">
              <a:extLst>
                <a:ext uri="{FF2B5EF4-FFF2-40B4-BE49-F238E27FC236}">
                  <a16:creationId xmlns:a16="http://schemas.microsoft.com/office/drawing/2014/main" id="{4B6C7778-8AD2-4A00-8D2A-728924AD1E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370" y="2468479"/>
              <a:ext cx="1107256" cy="8529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416" name="Picture 8" descr="Bildergebnis fÃ¼r mehl">
              <a:extLst>
                <a:ext uri="{FF2B5EF4-FFF2-40B4-BE49-F238E27FC236}">
                  <a16:creationId xmlns:a16="http://schemas.microsoft.com/office/drawing/2014/main" id="{0DE1ACC8-8ED6-4F1A-947B-8A472F2F1FC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45794" y="3049194"/>
              <a:ext cx="404889" cy="5505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10" descr="Bildergebnis fÃ¼r kakao">
              <a:extLst>
                <a:ext uri="{FF2B5EF4-FFF2-40B4-BE49-F238E27FC236}">
                  <a16:creationId xmlns:a16="http://schemas.microsoft.com/office/drawing/2014/main" id="{B8584934-E869-419A-A890-1A99B838DAD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6637"/>
            <a:stretch/>
          </p:blipFill>
          <p:spPr bwMode="auto">
            <a:xfrm>
              <a:off x="912624" y="2838749"/>
              <a:ext cx="604994" cy="7664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A18C420D-377D-4364-8345-C50A247A3C43}"/>
                </a:ext>
              </a:extLst>
            </p:cNvPr>
            <p:cNvSpPr txBox="1"/>
            <p:nvPr/>
          </p:nvSpPr>
          <p:spPr bwMode="gray">
            <a:xfrm>
              <a:off x="400370" y="2045331"/>
              <a:ext cx="1107256" cy="423148"/>
            </a:xfrm>
            <a:prstGeom prst="rect">
              <a:avLst/>
            </a:prstGeom>
            <a:solidFill>
              <a:schemeClr val="bg2">
                <a:alpha val="83000"/>
              </a:schemeClr>
            </a:solidFill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de-DE" sz="2800" b="1" dirty="0">
                  <a:solidFill>
                    <a:schemeClr val="bg1"/>
                  </a:solidFill>
                </a:rPr>
                <a:t>Zutaten</a:t>
              </a:r>
              <a:endParaRPr lang="en-US" sz="2800" b="1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19CE356-9E98-4572-8CC6-8229FD54BD7A}"/>
              </a:ext>
            </a:extLst>
          </p:cNvPr>
          <p:cNvGrpSpPr/>
          <p:nvPr/>
        </p:nvGrpSpPr>
        <p:grpSpPr>
          <a:xfrm>
            <a:off x="9741034" y="2557973"/>
            <a:ext cx="1528151" cy="2539728"/>
            <a:chOff x="9838017" y="4173707"/>
            <a:chExt cx="1164280" cy="1847493"/>
          </a:xfrm>
        </p:grpSpPr>
        <p:pic>
          <p:nvPicPr>
            <p:cNvPr id="17414" name="Picture 6" descr="Bildergebnis fÃ¼r Muffins">
              <a:extLst>
                <a:ext uri="{FF2B5EF4-FFF2-40B4-BE49-F238E27FC236}">
                  <a16:creationId xmlns:a16="http://schemas.microsoft.com/office/drawing/2014/main" id="{9BFC36AA-31F5-47A3-9C23-66A58FA5E17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838017" y="4689462"/>
              <a:ext cx="1164280" cy="1331738"/>
            </a:xfrm>
            <a:prstGeom prst="rect">
              <a:avLst/>
            </a:prstGeom>
            <a:solidFill>
              <a:schemeClr val="tx2"/>
            </a:solidFill>
            <a:ln w="19050">
              <a:solidFill>
                <a:schemeClr val="tx2"/>
              </a:solidFill>
              <a:miter lim="800000"/>
              <a:headEnd/>
              <a:tailEnd/>
            </a:ln>
            <a:extLst/>
          </p:spPr>
        </p:pic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74A77F48-6E46-4223-9E6F-E6F692EF4A06}"/>
                </a:ext>
              </a:extLst>
            </p:cNvPr>
            <p:cNvSpPr txBox="1"/>
            <p:nvPr/>
          </p:nvSpPr>
          <p:spPr bwMode="gray">
            <a:xfrm>
              <a:off x="9838017" y="4173707"/>
              <a:ext cx="1164280" cy="515754"/>
            </a:xfrm>
            <a:prstGeom prst="rect">
              <a:avLst/>
            </a:prstGeom>
            <a:solidFill>
              <a:schemeClr val="tx2"/>
            </a:solidFill>
            <a:ln w="19050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>
                <a:buNone/>
                <a:defRPr sz="2800" b="1">
                  <a:solidFill>
                    <a:schemeClr val="bg1"/>
                  </a:solidFill>
                </a:defRPr>
              </a:lvl1pPr>
            </a:lstStyle>
            <a:p>
              <a:r>
                <a:rPr lang="de-DE"/>
                <a:t>Muffins</a:t>
              </a:r>
              <a:endParaRPr lang="en-US" dirty="0" err="1"/>
            </a:p>
          </p:txBody>
        </p:sp>
      </p:grp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FE6EEF39-3D1C-44D1-9394-CFA7095CDF47}"/>
              </a:ext>
            </a:extLst>
          </p:cNvPr>
          <p:cNvCxnSpPr>
            <a:cxnSpLocks/>
          </p:cNvCxnSpPr>
          <p:nvPr/>
        </p:nvCxnSpPr>
        <p:spPr>
          <a:xfrm flipV="1">
            <a:off x="8743414" y="3727759"/>
            <a:ext cx="881967" cy="12133"/>
          </a:xfrm>
          <a:prstGeom prst="straightConnector1">
            <a:avLst/>
          </a:prstGeom>
          <a:ln w="1143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C7F30CB2-BED7-4B49-92AC-0E9C8E4C4DAE}"/>
              </a:ext>
            </a:extLst>
          </p:cNvPr>
          <p:cNvCxnSpPr>
            <a:cxnSpLocks/>
          </p:cNvCxnSpPr>
          <p:nvPr/>
        </p:nvCxnSpPr>
        <p:spPr>
          <a:xfrm>
            <a:off x="2658117" y="2655843"/>
            <a:ext cx="2719009" cy="32694"/>
          </a:xfrm>
          <a:prstGeom prst="straightConnector1">
            <a:avLst/>
          </a:prstGeom>
          <a:ln w="1143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F3FDF0AA-14CA-4AA8-9A01-D5068D390811}"/>
              </a:ext>
            </a:extLst>
          </p:cNvPr>
          <p:cNvGrpSpPr/>
          <p:nvPr/>
        </p:nvGrpSpPr>
        <p:grpSpPr>
          <a:xfrm>
            <a:off x="5597546" y="2244462"/>
            <a:ext cx="2860050" cy="2895446"/>
            <a:chOff x="2006080" y="3504472"/>
            <a:chExt cx="1603254" cy="1466055"/>
          </a:xfrm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DDBF9016-12C9-471C-A3F2-70F50B6F4335}"/>
                </a:ext>
              </a:extLst>
            </p:cNvPr>
            <p:cNvSpPr/>
            <p:nvPr/>
          </p:nvSpPr>
          <p:spPr bwMode="gray">
            <a:xfrm>
              <a:off x="2006080" y="3504472"/>
              <a:ext cx="1603254" cy="1466055"/>
            </a:xfrm>
            <a:prstGeom prst="ellipse">
              <a:avLst/>
            </a:prstGeom>
            <a:solidFill>
              <a:schemeClr val="bg1"/>
            </a:solidFill>
            <a:ln w="508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900" dirty="0" err="1">
                <a:cs typeface="Arial" charset="0"/>
              </a:endParaRPr>
            </a:p>
          </p:txBody>
        </p:sp>
        <p:pic>
          <p:nvPicPr>
            <p:cNvPr id="17412" name="Picture 4" descr="Bildergebnis fÃ¼r ofen symbol">
              <a:extLst>
                <a:ext uri="{FF2B5EF4-FFF2-40B4-BE49-F238E27FC236}">
                  <a16:creationId xmlns:a16="http://schemas.microsoft.com/office/drawing/2014/main" id="{1AD79AF1-656F-467B-9373-5571F0967F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9489" y="3589707"/>
              <a:ext cx="1164281" cy="1164281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E2D2E8E2-8372-478B-B8AB-4F542644FFFB}"/>
              </a:ext>
            </a:extLst>
          </p:cNvPr>
          <p:cNvGrpSpPr/>
          <p:nvPr/>
        </p:nvGrpSpPr>
        <p:grpSpPr>
          <a:xfrm>
            <a:off x="1171035" y="4001152"/>
            <a:ext cx="3544544" cy="2091291"/>
            <a:chOff x="1171035" y="4001152"/>
            <a:chExt cx="3544544" cy="2091291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E73AF096-F50B-4199-9486-B898E263848A}"/>
                </a:ext>
              </a:extLst>
            </p:cNvPr>
            <p:cNvGrpSpPr/>
            <p:nvPr/>
          </p:nvGrpSpPr>
          <p:grpSpPr>
            <a:xfrm>
              <a:off x="3319665" y="4001152"/>
              <a:ext cx="1395914" cy="2091291"/>
              <a:chOff x="343346" y="4091480"/>
              <a:chExt cx="1164280" cy="1778320"/>
            </a:xfrm>
          </p:grpSpPr>
          <p:pic>
            <p:nvPicPr>
              <p:cNvPr id="17422" name="Picture 14" descr="eBook-Titelbild">
                <a:extLst>
                  <a:ext uri="{FF2B5EF4-FFF2-40B4-BE49-F238E27FC236}">
                    <a16:creationId xmlns:a16="http://schemas.microsoft.com/office/drawing/2014/main" id="{8463EA2B-FB3A-4255-8DBC-E3768418418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3346" y="4616200"/>
                <a:ext cx="1164280" cy="1253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4" name="Textfeld 43">
                <a:extLst>
                  <a:ext uri="{FF2B5EF4-FFF2-40B4-BE49-F238E27FC236}">
                    <a16:creationId xmlns:a16="http://schemas.microsoft.com/office/drawing/2014/main" id="{6DAFDB69-3090-4199-A032-95D1A0C721AE}"/>
                  </a:ext>
                </a:extLst>
              </p:cNvPr>
              <p:cNvSpPr txBox="1"/>
              <p:nvPr/>
            </p:nvSpPr>
            <p:spPr bwMode="gray">
              <a:xfrm>
                <a:off x="343346" y="4091480"/>
                <a:ext cx="1164280" cy="640749"/>
              </a:xfrm>
              <a:prstGeom prst="rect">
                <a:avLst/>
              </a:prstGeom>
              <a:solidFill>
                <a:schemeClr val="bg2">
                  <a:alpha val="83000"/>
                </a:schemeClr>
              </a:solidFill>
              <a:ln w="19050">
                <a:noFill/>
                <a:miter lim="800000"/>
                <a:headEnd/>
                <a:tailEnd/>
              </a:ln>
            </p:spPr>
            <p:txBody>
              <a:bodyPr vert="horz" wrap="none" lIns="72000" tIns="36000" rIns="7200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de-DE" sz="2800" b="1" dirty="0">
                    <a:solidFill>
                      <a:schemeClr val="bg1"/>
                    </a:solidFill>
                  </a:rPr>
                  <a:t>Rezept</a:t>
                </a:r>
                <a:endParaRPr lang="en-US" sz="2800" b="1" dirty="0" err="1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27E8832D-5DF2-44F0-BC52-65A59401E5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71035" y="4992812"/>
              <a:ext cx="2523195" cy="945525"/>
            </a:xfrm>
            <a:prstGeom prst="rect">
              <a:avLst/>
            </a:prstGeom>
          </p:spPr>
        </p:pic>
      </p:grpSp>
      <p:sp>
        <p:nvSpPr>
          <p:cNvPr id="22" name="Foliennummernplatzhalter 1">
            <a:extLst>
              <a:ext uri="{FF2B5EF4-FFF2-40B4-BE49-F238E27FC236}">
                <a16:creationId xmlns:a16="http://schemas.microsoft.com/office/drawing/2014/main" id="{1B89E8A4-C20A-49C6-940B-0F701E63B6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14156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08562BB8-D635-47AE-BDD4-C0977EA5C7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8</a:t>
            </a:fld>
            <a:endParaRPr lang="en-US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BEDE48B8-EA2A-4BC7-A65B-2BE7838E820C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funktioniert Programmierung?</a:t>
            </a:r>
            <a:endParaRPr lang="de-DE" sz="3600" dirty="0">
              <a:cs typeface="TeleGrotesk Next Ultra" pitchFamily="2" charset="0"/>
            </a:endParaRP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23972084-3FE8-4EB2-B203-2B2D92D0ABBA}"/>
              </a:ext>
            </a:extLst>
          </p:cNvPr>
          <p:cNvCxnSpPr>
            <a:cxnSpLocks/>
          </p:cNvCxnSpPr>
          <p:nvPr/>
        </p:nvCxnSpPr>
        <p:spPr>
          <a:xfrm>
            <a:off x="908805" y="4035588"/>
            <a:ext cx="3197739" cy="0"/>
          </a:xfrm>
          <a:prstGeom prst="straightConnector1">
            <a:avLst/>
          </a:prstGeom>
          <a:ln w="212725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D0967DD-2020-44EC-8FBD-D65DFAD1ACC4}"/>
              </a:ext>
            </a:extLst>
          </p:cNvPr>
          <p:cNvSpPr txBox="1"/>
          <p:nvPr/>
        </p:nvSpPr>
        <p:spPr bwMode="gray">
          <a:xfrm>
            <a:off x="8314769" y="3604224"/>
            <a:ext cx="2968425" cy="631103"/>
          </a:xfrm>
          <a:prstGeom prst="rect">
            <a:avLst/>
          </a:prstGeom>
          <a:solidFill>
            <a:schemeClr val="tx2">
              <a:alpha val="83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363538">
              <a:buNone/>
              <a:tabLst>
                <a:tab pos="363538" algn="l"/>
              </a:tabLst>
            </a:pPr>
            <a:r>
              <a:rPr lang="de-DE" sz="2800" b="1" dirty="0">
                <a:solidFill>
                  <a:schemeClr val="bg1"/>
                </a:solidFill>
              </a:rPr>
              <a:t>Ergebnis</a:t>
            </a:r>
            <a:endParaRPr lang="en-US" sz="2800" b="1" dirty="0" err="1">
              <a:solidFill>
                <a:schemeClr val="bg1"/>
              </a:solidFill>
            </a:endParaRP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8F305DBA-F4D1-458D-B4D0-7B91C06B46AA}"/>
              </a:ext>
            </a:extLst>
          </p:cNvPr>
          <p:cNvCxnSpPr>
            <a:cxnSpLocks/>
          </p:cNvCxnSpPr>
          <p:nvPr/>
        </p:nvCxnSpPr>
        <p:spPr>
          <a:xfrm flipV="1">
            <a:off x="7652093" y="3341544"/>
            <a:ext cx="4042067" cy="87559"/>
          </a:xfrm>
          <a:prstGeom prst="straightConnector1">
            <a:avLst/>
          </a:prstGeom>
          <a:ln w="212725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EA8FE96D-BAA3-4C0A-807D-6452E8437F41}"/>
              </a:ext>
            </a:extLst>
          </p:cNvPr>
          <p:cNvCxnSpPr>
            <a:cxnSpLocks/>
          </p:cNvCxnSpPr>
          <p:nvPr/>
        </p:nvCxnSpPr>
        <p:spPr>
          <a:xfrm>
            <a:off x="908805" y="2845719"/>
            <a:ext cx="3197739" cy="0"/>
          </a:xfrm>
          <a:prstGeom prst="straightConnector1">
            <a:avLst/>
          </a:prstGeom>
          <a:ln w="212725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B96B0A6F-F20B-4BB0-ABE9-2F901833B25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400" y="1721695"/>
            <a:ext cx="2484897" cy="123523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2DE2BB8F-E9C1-4B71-8C4C-B5E987B0F96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530" y="3946766"/>
            <a:ext cx="2289875" cy="90340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492A703-26E2-48CD-BD27-58E5E195996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3460" y="1649667"/>
            <a:ext cx="3305263" cy="16918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43707D05-FD56-44DD-BE60-8A144BE3CBEE}"/>
              </a:ext>
            </a:extLst>
          </p:cNvPr>
          <p:cNvSpPr txBox="1"/>
          <p:nvPr/>
        </p:nvSpPr>
        <p:spPr bwMode="gray">
          <a:xfrm>
            <a:off x="1580442" y="2879990"/>
            <a:ext cx="2400276" cy="5166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Daten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BB73A6FC-E7EF-4DE1-81BE-44880DB957AB}"/>
              </a:ext>
            </a:extLst>
          </p:cNvPr>
          <p:cNvSpPr txBox="1"/>
          <p:nvPr/>
        </p:nvSpPr>
        <p:spPr bwMode="gray">
          <a:xfrm>
            <a:off x="915399" y="2935965"/>
            <a:ext cx="1574212" cy="6243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Reale-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27A5598D-5A82-40BF-B6E8-AE9B86E80BDA}"/>
              </a:ext>
            </a:extLst>
          </p:cNvPr>
          <p:cNvSpPr txBox="1"/>
          <p:nvPr/>
        </p:nvSpPr>
        <p:spPr bwMode="gray">
          <a:xfrm>
            <a:off x="1191645" y="4850169"/>
            <a:ext cx="2400276" cy="65158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Programm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52BF9B35-353C-4FF1-B805-8CDCB218029D}"/>
              </a:ext>
            </a:extLst>
          </p:cNvPr>
          <p:cNvGrpSpPr/>
          <p:nvPr/>
        </p:nvGrpSpPr>
        <p:grpSpPr>
          <a:xfrm>
            <a:off x="4106544" y="1825459"/>
            <a:ext cx="3305263" cy="3198455"/>
            <a:chOff x="4106544" y="1825459"/>
            <a:chExt cx="3305263" cy="3198455"/>
          </a:xfrm>
        </p:grpSpPr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45C7B7A9-2F33-47B0-A99E-9E641E7E8C3C}"/>
                </a:ext>
              </a:extLst>
            </p:cNvPr>
            <p:cNvSpPr/>
            <p:nvPr/>
          </p:nvSpPr>
          <p:spPr bwMode="gray">
            <a:xfrm>
              <a:off x="4106544" y="1825459"/>
              <a:ext cx="3305263" cy="3198455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900" dirty="0" err="1">
                <a:cs typeface="Arial" charset="0"/>
              </a:endParaRPr>
            </a:p>
          </p:txBody>
        </p:sp>
        <p:pic>
          <p:nvPicPr>
            <p:cNvPr id="17410" name="Picture 2" descr="Bildergebnis fÃ¼r Computer symbol">
              <a:extLst>
                <a:ext uri="{FF2B5EF4-FFF2-40B4-BE49-F238E27FC236}">
                  <a16:creationId xmlns:a16="http://schemas.microsoft.com/office/drawing/2014/main" id="{750E6D4A-8B35-4E38-B99A-23501E2489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9506" y="3873671"/>
              <a:ext cx="1168093" cy="1044309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Grafik 51">
              <a:extLst>
                <a:ext uri="{FF2B5EF4-FFF2-40B4-BE49-F238E27FC236}">
                  <a16:creationId xmlns:a16="http://schemas.microsoft.com/office/drawing/2014/main" id="{2E169448-0FC6-4F8D-8064-FDF82CDBB0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95341" y="2553342"/>
              <a:ext cx="2519781" cy="13203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875540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47" grpId="0"/>
      <p:bldP spid="49" grpId="0"/>
      <p:bldP spid="5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08562BB8-D635-47AE-BDD4-C0977EA5C7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9</a:t>
            </a:fld>
            <a:endParaRPr lang="en-US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BEDE48B8-EA2A-4BC7-A65B-2BE7838E820C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funktioniert Programmierung?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45C7B7A9-2F33-47B0-A99E-9E641E7E8C3C}"/>
              </a:ext>
            </a:extLst>
          </p:cNvPr>
          <p:cNvSpPr/>
          <p:nvPr/>
        </p:nvSpPr>
        <p:spPr bwMode="gray">
          <a:xfrm>
            <a:off x="4106544" y="1825459"/>
            <a:ext cx="3305263" cy="319845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0" dirty="0" err="1">
              <a:cs typeface="Arial" charset="0"/>
            </a:endParaRP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23972084-3FE8-4EB2-B203-2B2D92D0ABBA}"/>
              </a:ext>
            </a:extLst>
          </p:cNvPr>
          <p:cNvCxnSpPr>
            <a:cxnSpLocks/>
          </p:cNvCxnSpPr>
          <p:nvPr/>
        </p:nvCxnSpPr>
        <p:spPr>
          <a:xfrm>
            <a:off x="908805" y="4035588"/>
            <a:ext cx="3197739" cy="0"/>
          </a:xfrm>
          <a:prstGeom prst="straightConnector1">
            <a:avLst/>
          </a:prstGeom>
          <a:ln w="212725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7E19A7D1-0704-42DF-90E3-5E112A86692D}"/>
              </a:ext>
            </a:extLst>
          </p:cNvPr>
          <p:cNvSpPr txBox="1"/>
          <p:nvPr/>
        </p:nvSpPr>
        <p:spPr bwMode="gray">
          <a:xfrm>
            <a:off x="1254787" y="4124255"/>
            <a:ext cx="2400276" cy="65158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Programm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BD0967DD-2020-44EC-8FBD-D65DFAD1ACC4}"/>
              </a:ext>
            </a:extLst>
          </p:cNvPr>
          <p:cNvSpPr txBox="1"/>
          <p:nvPr/>
        </p:nvSpPr>
        <p:spPr bwMode="gray">
          <a:xfrm>
            <a:off x="8314769" y="3604224"/>
            <a:ext cx="2968425" cy="631103"/>
          </a:xfrm>
          <a:prstGeom prst="rect">
            <a:avLst/>
          </a:prstGeom>
          <a:solidFill>
            <a:schemeClr val="tx2">
              <a:alpha val="83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363538">
              <a:buNone/>
              <a:tabLst>
                <a:tab pos="363538" algn="l"/>
              </a:tabLst>
            </a:pPr>
            <a:r>
              <a:rPr lang="de-DE" sz="2800" b="1" dirty="0">
                <a:solidFill>
                  <a:schemeClr val="bg1"/>
                </a:solidFill>
              </a:rPr>
              <a:t>Ergebnis</a:t>
            </a:r>
            <a:endParaRPr lang="en-US" sz="2800" b="1" dirty="0" err="1">
              <a:solidFill>
                <a:schemeClr val="bg1"/>
              </a:solidFill>
            </a:endParaRP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8F305DBA-F4D1-458D-B4D0-7B91C06B46AA}"/>
              </a:ext>
            </a:extLst>
          </p:cNvPr>
          <p:cNvCxnSpPr>
            <a:cxnSpLocks/>
          </p:cNvCxnSpPr>
          <p:nvPr/>
        </p:nvCxnSpPr>
        <p:spPr>
          <a:xfrm>
            <a:off x="7652093" y="3429103"/>
            <a:ext cx="3197739" cy="0"/>
          </a:xfrm>
          <a:prstGeom prst="straightConnector1">
            <a:avLst/>
          </a:prstGeom>
          <a:ln w="212725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410" name="Picture 2" descr="Bildergebnis fÃ¼r Computer symbol">
            <a:extLst>
              <a:ext uri="{FF2B5EF4-FFF2-40B4-BE49-F238E27FC236}">
                <a16:creationId xmlns:a16="http://schemas.microsoft.com/office/drawing/2014/main" id="{750E6D4A-8B35-4E38-B99A-23501E2489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2948" y="2146362"/>
            <a:ext cx="2452457" cy="2192567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5E871218-9F16-4A94-B1A7-C47EA02E1F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499" r="6279"/>
          <a:stretch/>
        </p:blipFill>
        <p:spPr>
          <a:xfrm>
            <a:off x="2801649" y="4549498"/>
            <a:ext cx="1304895" cy="1485205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3FB0B32-C8C8-419B-A66D-81BC91A81D19}"/>
              </a:ext>
            </a:extLst>
          </p:cNvPr>
          <p:cNvGrpSpPr/>
          <p:nvPr/>
        </p:nvGrpSpPr>
        <p:grpSpPr>
          <a:xfrm>
            <a:off x="908805" y="2060930"/>
            <a:ext cx="3442126" cy="784789"/>
            <a:chOff x="908805" y="2060930"/>
            <a:chExt cx="3442126" cy="784789"/>
          </a:xfrm>
        </p:grpSpPr>
        <p:cxnSp>
          <p:nvCxnSpPr>
            <p:cNvPr id="11" name="Gerade Verbindung mit Pfeil 10">
              <a:extLst>
                <a:ext uri="{FF2B5EF4-FFF2-40B4-BE49-F238E27FC236}">
                  <a16:creationId xmlns:a16="http://schemas.microsoft.com/office/drawing/2014/main" id="{EA8FE96D-BAA3-4C0A-807D-6452E8437F41}"/>
                </a:ext>
              </a:extLst>
            </p:cNvPr>
            <p:cNvCxnSpPr>
              <a:cxnSpLocks/>
            </p:cNvCxnSpPr>
            <p:nvPr/>
          </p:nvCxnSpPr>
          <p:spPr>
            <a:xfrm>
              <a:off x="908805" y="2845719"/>
              <a:ext cx="3197739" cy="0"/>
            </a:xfrm>
            <a:prstGeom prst="straightConnector1">
              <a:avLst/>
            </a:prstGeom>
            <a:ln w="212725">
              <a:solidFill>
                <a:schemeClr val="bg1"/>
              </a:solidFill>
              <a:miter lim="800000"/>
              <a:headEnd type="none" w="med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EA99BD10-92FF-40F1-A55C-8892D60F1655}"/>
                </a:ext>
              </a:extLst>
            </p:cNvPr>
            <p:cNvSpPr txBox="1"/>
            <p:nvPr/>
          </p:nvSpPr>
          <p:spPr bwMode="gray">
            <a:xfrm>
              <a:off x="1950655" y="2060930"/>
              <a:ext cx="2400276" cy="51660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2800" dirty="0">
                  <a:solidFill>
                    <a:schemeClr val="bg1"/>
                  </a:solidFill>
                </a:rPr>
                <a:t>Daten</a:t>
              </a:r>
              <a:endParaRPr lang="en-US" sz="2800" dirty="0" err="1">
                <a:solidFill>
                  <a:schemeClr val="bg1"/>
                </a:solidFill>
              </a:endParaRPr>
            </a:p>
          </p:txBody>
        </p:sp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EC837B09-34DB-4EBC-9058-968100FABB93}"/>
                </a:ext>
              </a:extLst>
            </p:cNvPr>
            <p:cNvSpPr txBox="1"/>
            <p:nvPr/>
          </p:nvSpPr>
          <p:spPr bwMode="gray">
            <a:xfrm>
              <a:off x="1285612" y="2116905"/>
              <a:ext cx="1574212" cy="62433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2000" dirty="0">
                  <a:solidFill>
                    <a:schemeClr val="bg1"/>
                  </a:solidFill>
                </a:rPr>
                <a:t>Reale-</a:t>
              </a:r>
              <a:endParaRPr lang="en-US" sz="2000" dirty="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05313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24" grpId="0"/>
      <p:bldP spid="3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lekom 16:9 2016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0815_HR DI STYLEGUIDE_Only Master Slides" id="{F1D6C6A5-CCB1-4CE4-9C23-96140CFA26BE}" vid="{5D9C841B-9487-430A-8F0B-8D5A9E3E5F3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90</Words>
  <Application>Microsoft Office PowerPoint</Application>
  <PresentationFormat>Breitbild</PresentationFormat>
  <Paragraphs>304</Paragraphs>
  <Slides>37</Slides>
  <Notes>17</Notes>
  <HiddenSlides>0</HiddenSlides>
  <MMClips>2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7</vt:i4>
      </vt:variant>
    </vt:vector>
  </HeadingPairs>
  <TitlesOfParts>
    <vt:vector size="50" baseType="lpstr">
      <vt:lpstr>Arial</vt:lpstr>
      <vt:lpstr>Calibri</vt:lpstr>
      <vt:lpstr>Consolas</vt:lpstr>
      <vt:lpstr>Roboto</vt:lpstr>
      <vt:lpstr>TeleGrotesk Headline</vt:lpstr>
      <vt:lpstr>TeleGrotesk Headline Ultra</vt:lpstr>
      <vt:lpstr>Tele-GroteskFet</vt:lpstr>
      <vt:lpstr>Tele-GroteskNor</vt:lpstr>
      <vt:lpstr>Tele-GroteskUlt</vt:lpstr>
      <vt:lpstr>Wingdings</vt:lpstr>
      <vt:lpstr>Wingdings 2</vt:lpstr>
      <vt:lpstr>1_Telekom 16:9 2016 E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as ist Künstliche Inteligenz</dc:title>
  <dc:creator>Dirk.Wolters@telekom.de</dc:creator>
  <cp:lastModifiedBy>Wolters, Dirk</cp:lastModifiedBy>
  <cp:revision>286</cp:revision>
  <dcterms:created xsi:type="dcterms:W3CDTF">2019-01-15T14:39:11Z</dcterms:created>
  <dcterms:modified xsi:type="dcterms:W3CDTF">2020-03-02T09:48:08Z</dcterms:modified>
</cp:coreProperties>
</file>